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8.xml" ContentType="application/vnd.openxmlformats-officedocument.theme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  <p:sldMasterId id="2147485107" r:id="rId8"/>
    <p:sldMasterId id="2147485164" r:id="rId9"/>
  </p:sldMasterIdLst>
  <p:notesMasterIdLst>
    <p:notesMasterId r:id="rId20"/>
  </p:notesMasterIdLst>
  <p:handoutMasterIdLst>
    <p:handoutMasterId r:id="rId21"/>
  </p:handoutMasterIdLst>
  <p:sldIdLst>
    <p:sldId id="258" r:id="rId10"/>
    <p:sldId id="339" r:id="rId11"/>
    <p:sldId id="259" r:id="rId12"/>
    <p:sldId id="816" r:id="rId13"/>
    <p:sldId id="814" r:id="rId14"/>
    <p:sldId id="810" r:id="rId15"/>
    <p:sldId id="817" r:id="rId16"/>
    <p:sldId id="809" r:id="rId17"/>
    <p:sldId id="511" r:id="rId18"/>
    <p:sldId id="418" r:id="rId19"/>
  </p:sldIdLst>
  <p:sldSz cx="9215438" cy="5184775"/>
  <p:notesSz cx="6805613" cy="9939338"/>
  <p:custDataLst>
    <p:tags r:id="rId22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4"/>
            <p14:sldId id="810"/>
            <p14:sldId id="817"/>
            <p14:sldId id="809"/>
            <p14:sldId id="511"/>
            <p14:sldId id="41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>
        <p:scale>
          <a:sx n="74" d="100"/>
          <a:sy n="74" d="100"/>
        </p:scale>
        <p:origin x="1554" y="19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09D123-C5F0-4B0E-8BEB-9D40D45B3A8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accent0_3" csCatId="mainScheme" phldr="1"/>
      <dgm:spPr/>
      <dgm:t>
        <a:bodyPr/>
        <a:lstStyle/>
        <a:p>
          <a:endParaRPr lang="en-US"/>
        </a:p>
      </dgm:t>
    </dgm:pt>
    <dgm:pt modelId="{5E677CAB-8A60-4B4D-9B03-4DD7739EEA40}">
      <dgm:prSet/>
      <dgm:spPr/>
      <dgm:t>
        <a:bodyPr/>
        <a:lstStyle/>
        <a:p>
          <a:r>
            <a:rPr lang="en-US" dirty="0" err="1"/>
            <a:t>Capacidad</a:t>
          </a:r>
          <a:r>
            <a:rPr lang="en-US" dirty="0"/>
            <a:t> de </a:t>
          </a:r>
          <a:r>
            <a:rPr lang="en-US" dirty="0" err="1"/>
            <a:t>mejora</a:t>
          </a:r>
          <a:endParaRPr lang="en-US" dirty="0"/>
        </a:p>
      </dgm:t>
    </dgm:pt>
    <dgm:pt modelId="{2091742F-1394-4268-B72A-14FE13356111}" type="parTrans" cxnId="{7CC5F8A5-16F6-421B-AB67-B034D7150172}">
      <dgm:prSet/>
      <dgm:spPr/>
      <dgm:t>
        <a:bodyPr/>
        <a:lstStyle/>
        <a:p>
          <a:endParaRPr lang="en-US"/>
        </a:p>
      </dgm:t>
    </dgm:pt>
    <dgm:pt modelId="{B51962E9-988C-457B-A712-B100AC86B1A2}" type="sibTrans" cxnId="{7CC5F8A5-16F6-421B-AB67-B034D7150172}">
      <dgm:prSet/>
      <dgm:spPr/>
      <dgm:t>
        <a:bodyPr/>
        <a:lstStyle/>
        <a:p>
          <a:endParaRPr lang="en-US"/>
        </a:p>
      </dgm:t>
    </dgm:pt>
    <dgm:pt modelId="{FFC5949C-2B0C-4B40-9C50-A032B164DCB9}">
      <dgm:prSet/>
      <dgm:spPr/>
      <dgm:t>
        <a:bodyPr/>
        <a:lstStyle/>
        <a:p>
          <a:r>
            <a:rPr lang="en-US" dirty="0" err="1"/>
            <a:t>Producto</a:t>
          </a:r>
          <a:r>
            <a:rPr lang="en-US" dirty="0"/>
            <a:t> al </a:t>
          </a:r>
          <a:r>
            <a:rPr lang="en-US" dirty="0" err="1"/>
            <a:t>alcance</a:t>
          </a:r>
          <a:r>
            <a:rPr lang="en-US" dirty="0"/>
            <a:t> de </a:t>
          </a:r>
          <a:r>
            <a:rPr lang="en-US" dirty="0" err="1"/>
            <a:t>todos</a:t>
          </a:r>
          <a:endParaRPr lang="en-US" dirty="0"/>
        </a:p>
      </dgm:t>
    </dgm:pt>
    <dgm:pt modelId="{6EB103A8-A910-4194-A14A-D46E15CC5C70}" type="parTrans" cxnId="{3F738E62-0914-47DB-B9DF-3B60EA54FE8E}">
      <dgm:prSet/>
      <dgm:spPr/>
      <dgm:t>
        <a:bodyPr/>
        <a:lstStyle/>
        <a:p>
          <a:endParaRPr lang="en-US"/>
        </a:p>
      </dgm:t>
    </dgm:pt>
    <dgm:pt modelId="{76B23D5E-4728-401B-AB6C-779796DD8DA8}" type="sibTrans" cxnId="{3F738E62-0914-47DB-B9DF-3B60EA54FE8E}">
      <dgm:prSet/>
      <dgm:spPr/>
      <dgm:t>
        <a:bodyPr/>
        <a:lstStyle/>
        <a:p>
          <a:endParaRPr lang="en-US"/>
        </a:p>
      </dgm:t>
    </dgm:pt>
    <dgm:pt modelId="{9A7EFA71-393F-478C-B403-CD5794EB27F1}">
      <dgm:prSet/>
      <dgm:spPr/>
      <dgm:t>
        <a:bodyPr/>
        <a:lstStyle/>
        <a:p>
          <a:r>
            <a:rPr lang="en-US" dirty="0" err="1"/>
            <a:t>Pensamiento</a:t>
          </a:r>
          <a:r>
            <a:rPr lang="en-US" dirty="0"/>
            <a:t> actual</a:t>
          </a:r>
        </a:p>
      </dgm:t>
    </dgm:pt>
    <dgm:pt modelId="{C8CB0CDF-6057-4B86-95CB-9A4690A4315D}" type="parTrans" cxnId="{13659DFE-5D30-4C97-8F43-95F608290148}">
      <dgm:prSet/>
      <dgm:spPr/>
      <dgm:t>
        <a:bodyPr/>
        <a:lstStyle/>
        <a:p>
          <a:endParaRPr lang="en-US"/>
        </a:p>
      </dgm:t>
    </dgm:pt>
    <dgm:pt modelId="{ADCFC6AB-897D-4BA6-B204-7A6CDCA37E2E}" type="sibTrans" cxnId="{13659DFE-5D30-4C97-8F43-95F608290148}">
      <dgm:prSet/>
      <dgm:spPr/>
      <dgm:t>
        <a:bodyPr/>
        <a:lstStyle/>
        <a:p>
          <a:endParaRPr lang="en-US"/>
        </a:p>
      </dgm:t>
    </dgm:pt>
    <dgm:pt modelId="{C2A3BBC1-FFB6-4563-894B-CE0377ACF437}" type="pres">
      <dgm:prSet presAssocID="{9D09D123-C5F0-4B0E-8BEB-9D40D45B3A88}" presName="root" presStyleCnt="0">
        <dgm:presLayoutVars>
          <dgm:dir/>
          <dgm:resizeHandles val="exact"/>
        </dgm:presLayoutVars>
      </dgm:prSet>
      <dgm:spPr/>
    </dgm:pt>
    <dgm:pt modelId="{7984F316-1E9D-4CDB-8FBD-92CA61637772}" type="pres">
      <dgm:prSet presAssocID="{5E677CAB-8A60-4B4D-9B03-4DD7739EEA40}" presName="compNode" presStyleCnt="0"/>
      <dgm:spPr/>
    </dgm:pt>
    <dgm:pt modelId="{85EF9B97-F1D0-42CE-B580-B87EAA09C91B}" type="pres">
      <dgm:prSet presAssocID="{5E677CAB-8A60-4B4D-9B03-4DD7739EEA40}" presName="bgRect" presStyleLbl="bgShp" presStyleIdx="0" presStyleCnt="3"/>
      <dgm:spPr/>
    </dgm:pt>
    <dgm:pt modelId="{062E3FC2-ED9E-4E73-B3A3-5CB17A1B170E}" type="pres">
      <dgm:prSet presAssocID="{5E677CAB-8A60-4B4D-9B03-4DD7739EEA4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uzzle Pieces"/>
        </a:ext>
      </dgm:extLst>
    </dgm:pt>
    <dgm:pt modelId="{6A9F7A64-5B5D-4655-936D-A2C9B02A16AA}" type="pres">
      <dgm:prSet presAssocID="{5E677CAB-8A60-4B4D-9B03-4DD7739EEA40}" presName="spaceRect" presStyleCnt="0"/>
      <dgm:spPr/>
    </dgm:pt>
    <dgm:pt modelId="{D4092B27-A1D6-497D-A6EC-9A95D34836D6}" type="pres">
      <dgm:prSet presAssocID="{5E677CAB-8A60-4B4D-9B03-4DD7739EEA40}" presName="parTx" presStyleLbl="revTx" presStyleIdx="0" presStyleCnt="3">
        <dgm:presLayoutVars>
          <dgm:chMax val="0"/>
          <dgm:chPref val="0"/>
        </dgm:presLayoutVars>
      </dgm:prSet>
      <dgm:spPr/>
    </dgm:pt>
    <dgm:pt modelId="{401419B1-FDF4-429A-B5A0-C3420795B3F0}" type="pres">
      <dgm:prSet presAssocID="{B51962E9-988C-457B-A712-B100AC86B1A2}" presName="sibTrans" presStyleCnt="0"/>
      <dgm:spPr/>
    </dgm:pt>
    <dgm:pt modelId="{8DFB29E1-4A80-4E8C-8EE8-B4B9FA4B7150}" type="pres">
      <dgm:prSet presAssocID="{FFC5949C-2B0C-4B40-9C50-A032B164DCB9}" presName="compNode" presStyleCnt="0"/>
      <dgm:spPr/>
    </dgm:pt>
    <dgm:pt modelId="{9BED78F0-64D0-4734-AA14-FE0932FFB602}" type="pres">
      <dgm:prSet presAssocID="{FFC5949C-2B0C-4B40-9C50-A032B164DCB9}" presName="bgRect" presStyleLbl="bgShp" presStyleIdx="1" presStyleCnt="3"/>
      <dgm:spPr/>
    </dgm:pt>
    <dgm:pt modelId="{CBE395A4-A2CA-4098-938E-C6E31F0F073E}" type="pres">
      <dgm:prSet presAssocID="{FFC5949C-2B0C-4B40-9C50-A032B164DCB9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itor"/>
        </a:ext>
      </dgm:extLst>
    </dgm:pt>
    <dgm:pt modelId="{B06B8259-ED52-4FCE-A7E3-BE62F573548D}" type="pres">
      <dgm:prSet presAssocID="{FFC5949C-2B0C-4B40-9C50-A032B164DCB9}" presName="spaceRect" presStyleCnt="0"/>
      <dgm:spPr/>
    </dgm:pt>
    <dgm:pt modelId="{8B6089FE-58A3-4624-A97B-639E48907873}" type="pres">
      <dgm:prSet presAssocID="{FFC5949C-2B0C-4B40-9C50-A032B164DCB9}" presName="parTx" presStyleLbl="revTx" presStyleIdx="1" presStyleCnt="3">
        <dgm:presLayoutVars>
          <dgm:chMax val="0"/>
          <dgm:chPref val="0"/>
        </dgm:presLayoutVars>
      </dgm:prSet>
      <dgm:spPr/>
    </dgm:pt>
    <dgm:pt modelId="{51B7651A-5759-4BC5-97CC-1975E3443DB7}" type="pres">
      <dgm:prSet presAssocID="{76B23D5E-4728-401B-AB6C-779796DD8DA8}" presName="sibTrans" presStyleCnt="0"/>
      <dgm:spPr/>
    </dgm:pt>
    <dgm:pt modelId="{0B8648E1-FDF5-42CD-A7B3-293BEFFD1C59}" type="pres">
      <dgm:prSet presAssocID="{9A7EFA71-393F-478C-B403-CD5794EB27F1}" presName="compNode" presStyleCnt="0"/>
      <dgm:spPr/>
    </dgm:pt>
    <dgm:pt modelId="{3D2FD11B-6E11-4029-9653-42402DDFA7B6}" type="pres">
      <dgm:prSet presAssocID="{9A7EFA71-393F-478C-B403-CD5794EB27F1}" presName="bgRect" presStyleLbl="bgShp" presStyleIdx="2" presStyleCnt="3"/>
      <dgm:spPr/>
    </dgm:pt>
    <dgm:pt modelId="{AD46E5EB-FF9E-418A-B242-DDBFCF221B07}" type="pres">
      <dgm:prSet presAssocID="{9A7EFA71-393F-478C-B403-CD5794EB27F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rama"/>
        </a:ext>
      </dgm:extLst>
    </dgm:pt>
    <dgm:pt modelId="{7A51A1DA-7278-4AE7-87C7-5DB19A07E798}" type="pres">
      <dgm:prSet presAssocID="{9A7EFA71-393F-478C-B403-CD5794EB27F1}" presName="spaceRect" presStyleCnt="0"/>
      <dgm:spPr/>
    </dgm:pt>
    <dgm:pt modelId="{F7E0B786-79BB-41A1-BEEC-9CB92F31A71E}" type="pres">
      <dgm:prSet presAssocID="{9A7EFA71-393F-478C-B403-CD5794EB27F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3F738E62-0914-47DB-B9DF-3B60EA54FE8E}" srcId="{9D09D123-C5F0-4B0E-8BEB-9D40D45B3A88}" destId="{FFC5949C-2B0C-4B40-9C50-A032B164DCB9}" srcOrd="1" destOrd="0" parTransId="{6EB103A8-A910-4194-A14A-D46E15CC5C70}" sibTransId="{76B23D5E-4728-401B-AB6C-779796DD8DA8}"/>
    <dgm:cxn modelId="{07570B72-E193-4AC2-8CB2-9272FE761431}" type="presOf" srcId="{FFC5949C-2B0C-4B40-9C50-A032B164DCB9}" destId="{8B6089FE-58A3-4624-A97B-639E48907873}" srcOrd="0" destOrd="0" presId="urn:microsoft.com/office/officeart/2018/2/layout/IconVerticalSolidList"/>
    <dgm:cxn modelId="{F7BEB053-58FB-4C8C-8BAD-2A93DBB3CAD8}" type="presOf" srcId="{9D09D123-C5F0-4B0E-8BEB-9D40D45B3A88}" destId="{C2A3BBC1-FFB6-4563-894B-CE0377ACF437}" srcOrd="0" destOrd="0" presId="urn:microsoft.com/office/officeart/2018/2/layout/IconVerticalSolidList"/>
    <dgm:cxn modelId="{7CC5F8A5-16F6-421B-AB67-B034D7150172}" srcId="{9D09D123-C5F0-4B0E-8BEB-9D40D45B3A88}" destId="{5E677CAB-8A60-4B4D-9B03-4DD7739EEA40}" srcOrd="0" destOrd="0" parTransId="{2091742F-1394-4268-B72A-14FE13356111}" sibTransId="{B51962E9-988C-457B-A712-B100AC86B1A2}"/>
    <dgm:cxn modelId="{2B5A7BE3-122E-46AF-9F3A-4AB4C2071952}" type="presOf" srcId="{9A7EFA71-393F-478C-B403-CD5794EB27F1}" destId="{F7E0B786-79BB-41A1-BEEC-9CB92F31A71E}" srcOrd="0" destOrd="0" presId="urn:microsoft.com/office/officeart/2018/2/layout/IconVerticalSolidList"/>
    <dgm:cxn modelId="{90DD73EF-91F1-4083-B7CE-4CC80AD00A47}" type="presOf" srcId="{5E677CAB-8A60-4B4D-9B03-4DD7739EEA40}" destId="{D4092B27-A1D6-497D-A6EC-9A95D34836D6}" srcOrd="0" destOrd="0" presId="urn:microsoft.com/office/officeart/2018/2/layout/IconVerticalSolidList"/>
    <dgm:cxn modelId="{13659DFE-5D30-4C97-8F43-95F608290148}" srcId="{9D09D123-C5F0-4B0E-8BEB-9D40D45B3A88}" destId="{9A7EFA71-393F-478C-B403-CD5794EB27F1}" srcOrd="2" destOrd="0" parTransId="{C8CB0CDF-6057-4B86-95CB-9A4690A4315D}" sibTransId="{ADCFC6AB-897D-4BA6-B204-7A6CDCA37E2E}"/>
    <dgm:cxn modelId="{D24F3014-E4CE-4A7D-921D-2E13E04BE91A}" type="presParOf" srcId="{C2A3BBC1-FFB6-4563-894B-CE0377ACF437}" destId="{7984F316-1E9D-4CDB-8FBD-92CA61637772}" srcOrd="0" destOrd="0" presId="urn:microsoft.com/office/officeart/2018/2/layout/IconVerticalSolidList"/>
    <dgm:cxn modelId="{852EF9A3-0949-4E57-A1D3-27635F401E79}" type="presParOf" srcId="{7984F316-1E9D-4CDB-8FBD-92CA61637772}" destId="{85EF9B97-F1D0-42CE-B580-B87EAA09C91B}" srcOrd="0" destOrd="0" presId="urn:microsoft.com/office/officeart/2018/2/layout/IconVerticalSolidList"/>
    <dgm:cxn modelId="{9CA8EBC4-79AC-4572-BC94-533353D8F710}" type="presParOf" srcId="{7984F316-1E9D-4CDB-8FBD-92CA61637772}" destId="{062E3FC2-ED9E-4E73-B3A3-5CB17A1B170E}" srcOrd="1" destOrd="0" presId="urn:microsoft.com/office/officeart/2018/2/layout/IconVerticalSolidList"/>
    <dgm:cxn modelId="{61FC8998-3163-4733-8F2B-4182243BAD6E}" type="presParOf" srcId="{7984F316-1E9D-4CDB-8FBD-92CA61637772}" destId="{6A9F7A64-5B5D-4655-936D-A2C9B02A16AA}" srcOrd="2" destOrd="0" presId="urn:microsoft.com/office/officeart/2018/2/layout/IconVerticalSolidList"/>
    <dgm:cxn modelId="{04D5C7A6-B830-4AC2-9976-DFAD2F517707}" type="presParOf" srcId="{7984F316-1E9D-4CDB-8FBD-92CA61637772}" destId="{D4092B27-A1D6-497D-A6EC-9A95D34836D6}" srcOrd="3" destOrd="0" presId="urn:microsoft.com/office/officeart/2018/2/layout/IconVerticalSolidList"/>
    <dgm:cxn modelId="{75E71D8F-BE03-483C-8C60-D0264E303DD9}" type="presParOf" srcId="{C2A3BBC1-FFB6-4563-894B-CE0377ACF437}" destId="{401419B1-FDF4-429A-B5A0-C3420795B3F0}" srcOrd="1" destOrd="0" presId="urn:microsoft.com/office/officeart/2018/2/layout/IconVerticalSolidList"/>
    <dgm:cxn modelId="{A1E23C21-1781-48EE-BCFF-EE81A096A380}" type="presParOf" srcId="{C2A3BBC1-FFB6-4563-894B-CE0377ACF437}" destId="{8DFB29E1-4A80-4E8C-8EE8-B4B9FA4B7150}" srcOrd="2" destOrd="0" presId="urn:microsoft.com/office/officeart/2018/2/layout/IconVerticalSolidList"/>
    <dgm:cxn modelId="{8B55C237-E5A3-4F83-B15D-0871CBF5D761}" type="presParOf" srcId="{8DFB29E1-4A80-4E8C-8EE8-B4B9FA4B7150}" destId="{9BED78F0-64D0-4734-AA14-FE0932FFB602}" srcOrd="0" destOrd="0" presId="urn:microsoft.com/office/officeart/2018/2/layout/IconVerticalSolidList"/>
    <dgm:cxn modelId="{29EB73B6-07BA-485F-9510-99AA29E6A547}" type="presParOf" srcId="{8DFB29E1-4A80-4E8C-8EE8-B4B9FA4B7150}" destId="{CBE395A4-A2CA-4098-938E-C6E31F0F073E}" srcOrd="1" destOrd="0" presId="urn:microsoft.com/office/officeart/2018/2/layout/IconVerticalSolidList"/>
    <dgm:cxn modelId="{059609F1-00BE-4631-9CBA-B01BB333D040}" type="presParOf" srcId="{8DFB29E1-4A80-4E8C-8EE8-B4B9FA4B7150}" destId="{B06B8259-ED52-4FCE-A7E3-BE62F573548D}" srcOrd="2" destOrd="0" presId="urn:microsoft.com/office/officeart/2018/2/layout/IconVerticalSolidList"/>
    <dgm:cxn modelId="{BAF97C88-8B59-4F62-B616-2F70800EF3BD}" type="presParOf" srcId="{8DFB29E1-4A80-4E8C-8EE8-B4B9FA4B7150}" destId="{8B6089FE-58A3-4624-A97B-639E48907873}" srcOrd="3" destOrd="0" presId="urn:microsoft.com/office/officeart/2018/2/layout/IconVerticalSolidList"/>
    <dgm:cxn modelId="{82D8E247-12CF-4E29-BF8D-0B6BEBB3163B}" type="presParOf" srcId="{C2A3BBC1-FFB6-4563-894B-CE0377ACF437}" destId="{51B7651A-5759-4BC5-97CC-1975E3443DB7}" srcOrd="3" destOrd="0" presId="urn:microsoft.com/office/officeart/2018/2/layout/IconVerticalSolidList"/>
    <dgm:cxn modelId="{613EABCD-8583-4E98-A8B6-64092DDCD537}" type="presParOf" srcId="{C2A3BBC1-FFB6-4563-894B-CE0377ACF437}" destId="{0B8648E1-FDF5-42CD-A7B3-293BEFFD1C59}" srcOrd="4" destOrd="0" presId="urn:microsoft.com/office/officeart/2018/2/layout/IconVerticalSolidList"/>
    <dgm:cxn modelId="{02414431-70F0-4EDE-9B14-6EE90B894F6D}" type="presParOf" srcId="{0B8648E1-FDF5-42CD-A7B3-293BEFFD1C59}" destId="{3D2FD11B-6E11-4029-9653-42402DDFA7B6}" srcOrd="0" destOrd="0" presId="urn:microsoft.com/office/officeart/2018/2/layout/IconVerticalSolidList"/>
    <dgm:cxn modelId="{FE72FBF8-FEE1-463C-9CEE-3065B2B940B1}" type="presParOf" srcId="{0B8648E1-FDF5-42CD-A7B3-293BEFFD1C59}" destId="{AD46E5EB-FF9E-418A-B242-DDBFCF221B07}" srcOrd="1" destOrd="0" presId="urn:microsoft.com/office/officeart/2018/2/layout/IconVerticalSolidList"/>
    <dgm:cxn modelId="{4CC2DA97-9460-4BD0-A88B-BB60600A4AAA}" type="presParOf" srcId="{0B8648E1-FDF5-42CD-A7B3-293BEFFD1C59}" destId="{7A51A1DA-7278-4AE7-87C7-5DB19A07E798}" srcOrd="2" destOrd="0" presId="urn:microsoft.com/office/officeart/2018/2/layout/IconVerticalSolidList"/>
    <dgm:cxn modelId="{EE8FAF4B-6A88-47A1-BB70-022A565407A3}" type="presParOf" srcId="{0B8648E1-FDF5-42CD-A7B3-293BEFFD1C59}" destId="{F7E0B786-79BB-41A1-BEEC-9CB92F31A71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409318-739E-41B6-8E4A-507D3D002A6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3BFCB21-3DD6-4F83-B6FD-CFAB09B7ED97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Falta de experiencia</a:t>
          </a:r>
          <a:endParaRPr lang="en-US"/>
        </a:p>
      </dgm:t>
    </dgm:pt>
    <dgm:pt modelId="{B38D989D-9C9C-46FE-B99E-BF9B14A7722D}" type="parTrans" cxnId="{215B0AA6-DF12-4225-84C7-A0810713FC19}">
      <dgm:prSet/>
      <dgm:spPr/>
      <dgm:t>
        <a:bodyPr/>
        <a:lstStyle/>
        <a:p>
          <a:endParaRPr lang="en-US"/>
        </a:p>
      </dgm:t>
    </dgm:pt>
    <dgm:pt modelId="{47F39679-ABF3-4ECA-856C-75AEC8773599}" type="sibTrans" cxnId="{215B0AA6-DF12-4225-84C7-A0810713FC19}">
      <dgm:prSet/>
      <dgm:spPr/>
      <dgm:t>
        <a:bodyPr/>
        <a:lstStyle/>
        <a:p>
          <a:endParaRPr lang="en-US"/>
        </a:p>
      </dgm:t>
    </dgm:pt>
    <dgm:pt modelId="{5EDB3D1A-4DDD-473B-8A08-9AA6FEE2230B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Dificultades escogiendo un tema</a:t>
          </a:r>
          <a:endParaRPr lang="en-US"/>
        </a:p>
      </dgm:t>
    </dgm:pt>
    <dgm:pt modelId="{7C961C4A-C260-4670-BFB9-6A02706F7049}" type="parTrans" cxnId="{86BABB4F-C944-4853-A76E-FB7D22C10956}">
      <dgm:prSet/>
      <dgm:spPr/>
      <dgm:t>
        <a:bodyPr/>
        <a:lstStyle/>
        <a:p>
          <a:endParaRPr lang="en-US"/>
        </a:p>
      </dgm:t>
    </dgm:pt>
    <dgm:pt modelId="{F878DDB4-2AC3-49F1-B426-267C768C86D5}" type="sibTrans" cxnId="{86BABB4F-C944-4853-A76E-FB7D22C10956}">
      <dgm:prSet/>
      <dgm:spPr/>
      <dgm:t>
        <a:bodyPr/>
        <a:lstStyle/>
        <a:p>
          <a:endParaRPr lang="en-US"/>
        </a:p>
      </dgm:t>
    </dgm:pt>
    <dgm:pt modelId="{3548C04C-D8C5-42CD-B988-B44CAEBCD342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Muy perfeccionistas</a:t>
          </a:r>
          <a:endParaRPr lang="en-US"/>
        </a:p>
      </dgm:t>
    </dgm:pt>
    <dgm:pt modelId="{96AF4455-281C-40C9-BC29-C6835A82D517}" type="parTrans" cxnId="{3567D53D-79F0-416A-9323-B7F00BFF6D14}">
      <dgm:prSet/>
      <dgm:spPr/>
      <dgm:t>
        <a:bodyPr/>
        <a:lstStyle/>
        <a:p>
          <a:endParaRPr lang="en-US"/>
        </a:p>
      </dgm:t>
    </dgm:pt>
    <dgm:pt modelId="{3A6B3B7A-612B-4CC0-8B56-1B28764AE15E}" type="sibTrans" cxnId="{3567D53D-79F0-416A-9323-B7F00BFF6D14}">
      <dgm:prSet/>
      <dgm:spPr/>
      <dgm:t>
        <a:bodyPr/>
        <a:lstStyle/>
        <a:p>
          <a:endParaRPr lang="en-US"/>
        </a:p>
      </dgm:t>
    </dgm:pt>
    <dgm:pt modelId="{82AA01E1-AE81-42D9-BF8A-669DDE3BDCA6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Lenguaje Python</a:t>
          </a:r>
          <a:endParaRPr lang="en-US"/>
        </a:p>
      </dgm:t>
    </dgm:pt>
    <dgm:pt modelId="{64F710B2-CBB8-4077-93D5-8A852F8F0841}" type="parTrans" cxnId="{0FFFBBC6-10EE-4543-823B-DDD977908B5F}">
      <dgm:prSet/>
      <dgm:spPr/>
      <dgm:t>
        <a:bodyPr/>
        <a:lstStyle/>
        <a:p>
          <a:endParaRPr lang="en-US"/>
        </a:p>
      </dgm:t>
    </dgm:pt>
    <dgm:pt modelId="{EB3DD081-CA7C-47C1-8BE5-BC2C0D634297}" type="sibTrans" cxnId="{0FFFBBC6-10EE-4543-823B-DDD977908B5F}">
      <dgm:prSet/>
      <dgm:spPr/>
      <dgm:t>
        <a:bodyPr/>
        <a:lstStyle/>
        <a:p>
          <a:endParaRPr lang="en-US"/>
        </a:p>
      </dgm:t>
    </dgm:pt>
    <dgm:pt modelId="{301C26C5-B148-4EA1-AD1D-E76B97A28860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Uso de OpenCV</a:t>
          </a:r>
          <a:endParaRPr lang="en-US"/>
        </a:p>
      </dgm:t>
    </dgm:pt>
    <dgm:pt modelId="{7B9A9E36-5711-41D1-89DF-7B1DC5201A86}" type="parTrans" cxnId="{4F4D58ED-4295-4771-8530-EDCDBE5FE86D}">
      <dgm:prSet/>
      <dgm:spPr/>
      <dgm:t>
        <a:bodyPr/>
        <a:lstStyle/>
        <a:p>
          <a:endParaRPr lang="en-US"/>
        </a:p>
      </dgm:t>
    </dgm:pt>
    <dgm:pt modelId="{1DE70C64-6869-4F8A-BD44-DD7EBBD092D7}" type="sibTrans" cxnId="{4F4D58ED-4295-4771-8530-EDCDBE5FE86D}">
      <dgm:prSet/>
      <dgm:spPr/>
      <dgm:t>
        <a:bodyPr/>
        <a:lstStyle/>
        <a:p>
          <a:endParaRPr lang="en-US"/>
        </a:p>
      </dgm:t>
    </dgm:pt>
    <dgm:pt modelId="{CFA8D93A-A073-4E78-9E14-DF870C53E5F3}" type="pres">
      <dgm:prSet presAssocID="{2D409318-739E-41B6-8E4A-507D3D002A66}" presName="vert0" presStyleCnt="0">
        <dgm:presLayoutVars>
          <dgm:dir/>
          <dgm:animOne val="branch"/>
          <dgm:animLvl val="lvl"/>
        </dgm:presLayoutVars>
      </dgm:prSet>
      <dgm:spPr/>
    </dgm:pt>
    <dgm:pt modelId="{6E5174EF-0B9F-4B94-BBE2-B3BE7373F0AB}" type="pres">
      <dgm:prSet presAssocID="{23BFCB21-3DD6-4F83-B6FD-CFAB09B7ED97}" presName="thickLine" presStyleLbl="alignNode1" presStyleIdx="0" presStyleCnt="5"/>
      <dgm:spPr/>
    </dgm:pt>
    <dgm:pt modelId="{F6169594-1A97-4502-97A9-C8A312DBF898}" type="pres">
      <dgm:prSet presAssocID="{23BFCB21-3DD6-4F83-B6FD-CFAB09B7ED97}" presName="horz1" presStyleCnt="0"/>
      <dgm:spPr/>
    </dgm:pt>
    <dgm:pt modelId="{2A00D455-62B6-4A58-A537-D5A507C3D6B2}" type="pres">
      <dgm:prSet presAssocID="{23BFCB21-3DD6-4F83-B6FD-CFAB09B7ED97}" presName="tx1" presStyleLbl="revTx" presStyleIdx="0" presStyleCnt="5"/>
      <dgm:spPr/>
    </dgm:pt>
    <dgm:pt modelId="{6B9AC0EE-6EA8-4475-B952-4C4EE0564A53}" type="pres">
      <dgm:prSet presAssocID="{23BFCB21-3DD6-4F83-B6FD-CFAB09B7ED97}" presName="vert1" presStyleCnt="0"/>
      <dgm:spPr/>
    </dgm:pt>
    <dgm:pt modelId="{9DCD0E00-C12B-49BB-BFCC-EAF3EB618338}" type="pres">
      <dgm:prSet presAssocID="{5EDB3D1A-4DDD-473B-8A08-9AA6FEE2230B}" presName="thickLine" presStyleLbl="alignNode1" presStyleIdx="1" presStyleCnt="5"/>
      <dgm:spPr/>
    </dgm:pt>
    <dgm:pt modelId="{7AD6BC5A-2B87-41D8-88CA-2A39714FC437}" type="pres">
      <dgm:prSet presAssocID="{5EDB3D1A-4DDD-473B-8A08-9AA6FEE2230B}" presName="horz1" presStyleCnt="0"/>
      <dgm:spPr/>
    </dgm:pt>
    <dgm:pt modelId="{08CCDA60-6E8A-4C28-ADC1-437E13A65DFE}" type="pres">
      <dgm:prSet presAssocID="{5EDB3D1A-4DDD-473B-8A08-9AA6FEE2230B}" presName="tx1" presStyleLbl="revTx" presStyleIdx="1" presStyleCnt="5"/>
      <dgm:spPr/>
    </dgm:pt>
    <dgm:pt modelId="{3D3D3A77-6E96-43BC-A6A8-890911B3BBD2}" type="pres">
      <dgm:prSet presAssocID="{5EDB3D1A-4DDD-473B-8A08-9AA6FEE2230B}" presName="vert1" presStyleCnt="0"/>
      <dgm:spPr/>
    </dgm:pt>
    <dgm:pt modelId="{0D871EDD-6DD0-4937-BDD7-F12EB745C77E}" type="pres">
      <dgm:prSet presAssocID="{3548C04C-D8C5-42CD-B988-B44CAEBCD342}" presName="thickLine" presStyleLbl="alignNode1" presStyleIdx="2" presStyleCnt="5"/>
      <dgm:spPr/>
    </dgm:pt>
    <dgm:pt modelId="{1204039F-6B1F-485C-AEB7-F77011B0D8C8}" type="pres">
      <dgm:prSet presAssocID="{3548C04C-D8C5-42CD-B988-B44CAEBCD342}" presName="horz1" presStyleCnt="0"/>
      <dgm:spPr/>
    </dgm:pt>
    <dgm:pt modelId="{6F65A558-4F56-4278-B492-6C02325DBC61}" type="pres">
      <dgm:prSet presAssocID="{3548C04C-D8C5-42CD-B988-B44CAEBCD342}" presName="tx1" presStyleLbl="revTx" presStyleIdx="2" presStyleCnt="5"/>
      <dgm:spPr/>
    </dgm:pt>
    <dgm:pt modelId="{A66592BD-8894-440B-9F31-453E7D956786}" type="pres">
      <dgm:prSet presAssocID="{3548C04C-D8C5-42CD-B988-B44CAEBCD342}" presName="vert1" presStyleCnt="0"/>
      <dgm:spPr/>
    </dgm:pt>
    <dgm:pt modelId="{34342AA0-BAB1-4A0E-A09D-38DF12871210}" type="pres">
      <dgm:prSet presAssocID="{82AA01E1-AE81-42D9-BF8A-669DDE3BDCA6}" presName="thickLine" presStyleLbl="alignNode1" presStyleIdx="3" presStyleCnt="5"/>
      <dgm:spPr/>
    </dgm:pt>
    <dgm:pt modelId="{D4153ECD-FB3C-47B4-9D23-4FF31FC1879F}" type="pres">
      <dgm:prSet presAssocID="{82AA01E1-AE81-42D9-BF8A-669DDE3BDCA6}" presName="horz1" presStyleCnt="0"/>
      <dgm:spPr/>
    </dgm:pt>
    <dgm:pt modelId="{C117FCCD-FADD-42CC-87AC-095CA4BB2700}" type="pres">
      <dgm:prSet presAssocID="{82AA01E1-AE81-42D9-BF8A-669DDE3BDCA6}" presName="tx1" presStyleLbl="revTx" presStyleIdx="3" presStyleCnt="5"/>
      <dgm:spPr/>
    </dgm:pt>
    <dgm:pt modelId="{02336690-1B20-4BCA-BF43-FD7DCF4674E5}" type="pres">
      <dgm:prSet presAssocID="{82AA01E1-AE81-42D9-BF8A-669DDE3BDCA6}" presName="vert1" presStyleCnt="0"/>
      <dgm:spPr/>
    </dgm:pt>
    <dgm:pt modelId="{265B59F3-BA26-4741-996D-6F0B65614285}" type="pres">
      <dgm:prSet presAssocID="{301C26C5-B148-4EA1-AD1D-E76B97A28860}" presName="thickLine" presStyleLbl="alignNode1" presStyleIdx="4" presStyleCnt="5"/>
      <dgm:spPr/>
    </dgm:pt>
    <dgm:pt modelId="{7E8FE3A4-8F51-444D-9E09-347572C54ECD}" type="pres">
      <dgm:prSet presAssocID="{301C26C5-B148-4EA1-AD1D-E76B97A28860}" presName="horz1" presStyleCnt="0"/>
      <dgm:spPr/>
    </dgm:pt>
    <dgm:pt modelId="{3262C787-0798-49A5-96FD-39D521488998}" type="pres">
      <dgm:prSet presAssocID="{301C26C5-B148-4EA1-AD1D-E76B97A28860}" presName="tx1" presStyleLbl="revTx" presStyleIdx="4" presStyleCnt="5"/>
      <dgm:spPr/>
    </dgm:pt>
    <dgm:pt modelId="{9F757A15-2DF2-4B9B-85DB-BF26AB728AB3}" type="pres">
      <dgm:prSet presAssocID="{301C26C5-B148-4EA1-AD1D-E76B97A28860}" presName="vert1" presStyleCnt="0"/>
      <dgm:spPr/>
    </dgm:pt>
  </dgm:ptLst>
  <dgm:cxnLst>
    <dgm:cxn modelId="{3567D53D-79F0-416A-9323-B7F00BFF6D14}" srcId="{2D409318-739E-41B6-8E4A-507D3D002A66}" destId="{3548C04C-D8C5-42CD-B988-B44CAEBCD342}" srcOrd="2" destOrd="0" parTransId="{96AF4455-281C-40C9-BC29-C6835A82D517}" sibTransId="{3A6B3B7A-612B-4CC0-8B56-1B28764AE15E}"/>
    <dgm:cxn modelId="{86BABB4F-C944-4853-A76E-FB7D22C10956}" srcId="{2D409318-739E-41B6-8E4A-507D3D002A66}" destId="{5EDB3D1A-4DDD-473B-8A08-9AA6FEE2230B}" srcOrd="1" destOrd="0" parTransId="{7C961C4A-C260-4670-BFB9-6A02706F7049}" sibTransId="{F878DDB4-2AC3-49F1-B426-267C768C86D5}"/>
    <dgm:cxn modelId="{AC827884-4D10-4ACC-93DB-9D687F595A83}" type="presOf" srcId="{3548C04C-D8C5-42CD-B988-B44CAEBCD342}" destId="{6F65A558-4F56-4278-B492-6C02325DBC61}" srcOrd="0" destOrd="0" presId="urn:microsoft.com/office/officeart/2008/layout/LinedList"/>
    <dgm:cxn modelId="{E4E9A29E-596A-4E8E-B37B-82059F5BDC28}" type="presOf" srcId="{23BFCB21-3DD6-4F83-B6FD-CFAB09B7ED97}" destId="{2A00D455-62B6-4A58-A537-D5A507C3D6B2}" srcOrd="0" destOrd="0" presId="urn:microsoft.com/office/officeart/2008/layout/LinedList"/>
    <dgm:cxn modelId="{215B0AA6-DF12-4225-84C7-A0810713FC19}" srcId="{2D409318-739E-41B6-8E4A-507D3D002A66}" destId="{23BFCB21-3DD6-4F83-B6FD-CFAB09B7ED97}" srcOrd="0" destOrd="0" parTransId="{B38D989D-9C9C-46FE-B99E-BF9B14A7722D}" sibTransId="{47F39679-ABF3-4ECA-856C-75AEC8773599}"/>
    <dgm:cxn modelId="{E2FEBBA6-A4F9-4E5B-9127-F6613FBD1FF0}" type="presOf" srcId="{301C26C5-B148-4EA1-AD1D-E76B97A28860}" destId="{3262C787-0798-49A5-96FD-39D521488998}" srcOrd="0" destOrd="0" presId="urn:microsoft.com/office/officeart/2008/layout/LinedList"/>
    <dgm:cxn modelId="{81714DBD-9BF8-4BF8-9834-B12C14C87B71}" type="presOf" srcId="{2D409318-739E-41B6-8E4A-507D3D002A66}" destId="{CFA8D93A-A073-4E78-9E14-DF870C53E5F3}" srcOrd="0" destOrd="0" presId="urn:microsoft.com/office/officeart/2008/layout/LinedList"/>
    <dgm:cxn modelId="{0FFFBBC6-10EE-4543-823B-DDD977908B5F}" srcId="{2D409318-739E-41B6-8E4A-507D3D002A66}" destId="{82AA01E1-AE81-42D9-BF8A-669DDE3BDCA6}" srcOrd="3" destOrd="0" parTransId="{64F710B2-CBB8-4077-93D5-8A852F8F0841}" sibTransId="{EB3DD081-CA7C-47C1-8BE5-BC2C0D634297}"/>
    <dgm:cxn modelId="{2C21E1E2-090C-46A6-80C2-165F6DD0C3A8}" type="presOf" srcId="{82AA01E1-AE81-42D9-BF8A-669DDE3BDCA6}" destId="{C117FCCD-FADD-42CC-87AC-095CA4BB2700}" srcOrd="0" destOrd="0" presId="urn:microsoft.com/office/officeart/2008/layout/LinedList"/>
    <dgm:cxn modelId="{4F4D58ED-4295-4771-8530-EDCDBE5FE86D}" srcId="{2D409318-739E-41B6-8E4A-507D3D002A66}" destId="{301C26C5-B148-4EA1-AD1D-E76B97A28860}" srcOrd="4" destOrd="0" parTransId="{7B9A9E36-5711-41D1-89DF-7B1DC5201A86}" sibTransId="{1DE70C64-6869-4F8A-BD44-DD7EBBD092D7}"/>
    <dgm:cxn modelId="{4536FAF5-3484-4790-8AEE-897B4E5D803F}" type="presOf" srcId="{5EDB3D1A-4DDD-473B-8A08-9AA6FEE2230B}" destId="{08CCDA60-6E8A-4C28-ADC1-437E13A65DFE}" srcOrd="0" destOrd="0" presId="urn:microsoft.com/office/officeart/2008/layout/LinedList"/>
    <dgm:cxn modelId="{3F5A8FEE-E5FA-4F45-8950-5DA5949002C1}" type="presParOf" srcId="{CFA8D93A-A073-4E78-9E14-DF870C53E5F3}" destId="{6E5174EF-0B9F-4B94-BBE2-B3BE7373F0AB}" srcOrd="0" destOrd="0" presId="urn:microsoft.com/office/officeart/2008/layout/LinedList"/>
    <dgm:cxn modelId="{BF10AFED-4EEA-4FC3-9DDF-C769B058952B}" type="presParOf" srcId="{CFA8D93A-A073-4E78-9E14-DF870C53E5F3}" destId="{F6169594-1A97-4502-97A9-C8A312DBF898}" srcOrd="1" destOrd="0" presId="urn:microsoft.com/office/officeart/2008/layout/LinedList"/>
    <dgm:cxn modelId="{356B9B2A-FD2A-4B78-851B-19467C99507A}" type="presParOf" srcId="{F6169594-1A97-4502-97A9-C8A312DBF898}" destId="{2A00D455-62B6-4A58-A537-D5A507C3D6B2}" srcOrd="0" destOrd="0" presId="urn:microsoft.com/office/officeart/2008/layout/LinedList"/>
    <dgm:cxn modelId="{A2D60CFB-D07C-4CDC-8AEF-E1D9DCE1CA4C}" type="presParOf" srcId="{F6169594-1A97-4502-97A9-C8A312DBF898}" destId="{6B9AC0EE-6EA8-4475-B952-4C4EE0564A53}" srcOrd="1" destOrd="0" presId="urn:microsoft.com/office/officeart/2008/layout/LinedList"/>
    <dgm:cxn modelId="{B257049A-003D-4523-B384-88239CEE5537}" type="presParOf" srcId="{CFA8D93A-A073-4E78-9E14-DF870C53E5F3}" destId="{9DCD0E00-C12B-49BB-BFCC-EAF3EB618338}" srcOrd="2" destOrd="0" presId="urn:microsoft.com/office/officeart/2008/layout/LinedList"/>
    <dgm:cxn modelId="{6C37C9B6-305C-41A4-BBDE-8A701EB6537D}" type="presParOf" srcId="{CFA8D93A-A073-4E78-9E14-DF870C53E5F3}" destId="{7AD6BC5A-2B87-41D8-88CA-2A39714FC437}" srcOrd="3" destOrd="0" presId="urn:microsoft.com/office/officeart/2008/layout/LinedList"/>
    <dgm:cxn modelId="{DAA5B0E4-F6DB-481E-AC5B-F95111D18DF4}" type="presParOf" srcId="{7AD6BC5A-2B87-41D8-88CA-2A39714FC437}" destId="{08CCDA60-6E8A-4C28-ADC1-437E13A65DFE}" srcOrd="0" destOrd="0" presId="urn:microsoft.com/office/officeart/2008/layout/LinedList"/>
    <dgm:cxn modelId="{13410694-5FCC-4F5D-BEBD-631D141EE0B4}" type="presParOf" srcId="{7AD6BC5A-2B87-41D8-88CA-2A39714FC437}" destId="{3D3D3A77-6E96-43BC-A6A8-890911B3BBD2}" srcOrd="1" destOrd="0" presId="urn:microsoft.com/office/officeart/2008/layout/LinedList"/>
    <dgm:cxn modelId="{6DC2E29E-22FA-4FDE-96E0-B8C2D61A0C7C}" type="presParOf" srcId="{CFA8D93A-A073-4E78-9E14-DF870C53E5F3}" destId="{0D871EDD-6DD0-4937-BDD7-F12EB745C77E}" srcOrd="4" destOrd="0" presId="urn:microsoft.com/office/officeart/2008/layout/LinedList"/>
    <dgm:cxn modelId="{5BA1B7C0-1BF8-48DA-B4A3-B3B6D718E8D7}" type="presParOf" srcId="{CFA8D93A-A073-4E78-9E14-DF870C53E5F3}" destId="{1204039F-6B1F-485C-AEB7-F77011B0D8C8}" srcOrd="5" destOrd="0" presId="urn:microsoft.com/office/officeart/2008/layout/LinedList"/>
    <dgm:cxn modelId="{0779F0DA-CE52-4D91-9E01-110C129B050B}" type="presParOf" srcId="{1204039F-6B1F-485C-AEB7-F77011B0D8C8}" destId="{6F65A558-4F56-4278-B492-6C02325DBC61}" srcOrd="0" destOrd="0" presId="urn:microsoft.com/office/officeart/2008/layout/LinedList"/>
    <dgm:cxn modelId="{E6BFFB78-A813-4E3D-A2ED-8CA1F3236B43}" type="presParOf" srcId="{1204039F-6B1F-485C-AEB7-F77011B0D8C8}" destId="{A66592BD-8894-440B-9F31-453E7D956786}" srcOrd="1" destOrd="0" presId="urn:microsoft.com/office/officeart/2008/layout/LinedList"/>
    <dgm:cxn modelId="{D9FDDFC8-60DC-43C4-AFB2-8014BF44A5D0}" type="presParOf" srcId="{CFA8D93A-A073-4E78-9E14-DF870C53E5F3}" destId="{34342AA0-BAB1-4A0E-A09D-38DF12871210}" srcOrd="6" destOrd="0" presId="urn:microsoft.com/office/officeart/2008/layout/LinedList"/>
    <dgm:cxn modelId="{43F0BEE0-702F-48A6-A81E-2A7ED2EE5BDF}" type="presParOf" srcId="{CFA8D93A-A073-4E78-9E14-DF870C53E5F3}" destId="{D4153ECD-FB3C-47B4-9D23-4FF31FC1879F}" srcOrd="7" destOrd="0" presId="urn:microsoft.com/office/officeart/2008/layout/LinedList"/>
    <dgm:cxn modelId="{EAF89B1D-7569-463D-ADC1-A8061BDCCC30}" type="presParOf" srcId="{D4153ECD-FB3C-47B4-9D23-4FF31FC1879F}" destId="{C117FCCD-FADD-42CC-87AC-095CA4BB2700}" srcOrd="0" destOrd="0" presId="urn:microsoft.com/office/officeart/2008/layout/LinedList"/>
    <dgm:cxn modelId="{C2EAA9EB-E3E4-4583-A71D-10AA304273BA}" type="presParOf" srcId="{D4153ECD-FB3C-47B4-9D23-4FF31FC1879F}" destId="{02336690-1B20-4BCA-BF43-FD7DCF4674E5}" srcOrd="1" destOrd="0" presId="urn:microsoft.com/office/officeart/2008/layout/LinedList"/>
    <dgm:cxn modelId="{3EB37193-7E68-48EA-89D3-D44E221B2AE9}" type="presParOf" srcId="{CFA8D93A-A073-4E78-9E14-DF870C53E5F3}" destId="{265B59F3-BA26-4741-996D-6F0B65614285}" srcOrd="8" destOrd="0" presId="urn:microsoft.com/office/officeart/2008/layout/LinedList"/>
    <dgm:cxn modelId="{334127CD-EF39-4654-AADF-DC3AFA912D98}" type="presParOf" srcId="{CFA8D93A-A073-4E78-9E14-DF870C53E5F3}" destId="{7E8FE3A4-8F51-444D-9E09-347572C54ECD}" srcOrd="9" destOrd="0" presId="urn:microsoft.com/office/officeart/2008/layout/LinedList"/>
    <dgm:cxn modelId="{382C6273-F6C8-4540-89D4-5F4A7A6EF9B8}" type="presParOf" srcId="{7E8FE3A4-8F51-444D-9E09-347572C54ECD}" destId="{3262C787-0798-49A5-96FD-39D521488998}" srcOrd="0" destOrd="0" presId="urn:microsoft.com/office/officeart/2008/layout/LinedList"/>
    <dgm:cxn modelId="{6788B10F-A2D8-49E4-8483-6D4D215288A7}" type="presParOf" srcId="{7E8FE3A4-8F51-444D-9E09-347572C54ECD}" destId="{9F757A15-2DF2-4B9B-85DB-BF26AB728AB3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EF9B97-F1D0-42CE-B580-B87EAA09C91B}">
      <dsp:nvSpPr>
        <dsp:cNvPr id="0" name=""/>
        <dsp:cNvSpPr/>
      </dsp:nvSpPr>
      <dsp:spPr>
        <a:xfrm>
          <a:off x="0" y="543"/>
          <a:ext cx="4923369" cy="127097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2E3FC2-ED9E-4E73-B3A3-5CB17A1B170E}">
      <dsp:nvSpPr>
        <dsp:cNvPr id="0" name=""/>
        <dsp:cNvSpPr/>
      </dsp:nvSpPr>
      <dsp:spPr>
        <a:xfrm>
          <a:off x="384469" y="286512"/>
          <a:ext cx="699035" cy="69903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092B27-A1D6-497D-A6EC-9A95D34836D6}">
      <dsp:nvSpPr>
        <dsp:cNvPr id="0" name=""/>
        <dsp:cNvSpPr/>
      </dsp:nvSpPr>
      <dsp:spPr>
        <a:xfrm>
          <a:off x="1467973" y="543"/>
          <a:ext cx="3455395" cy="12709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511" tIns="134511" rIns="134511" bIns="13451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Capacidad</a:t>
          </a:r>
          <a:r>
            <a:rPr lang="en-US" sz="2500" kern="1200" dirty="0"/>
            <a:t> de </a:t>
          </a:r>
          <a:r>
            <a:rPr lang="en-US" sz="2500" kern="1200" dirty="0" err="1"/>
            <a:t>mejora</a:t>
          </a:r>
          <a:endParaRPr lang="en-US" sz="2500" kern="1200" dirty="0"/>
        </a:p>
      </dsp:txBody>
      <dsp:txXfrm>
        <a:off x="1467973" y="543"/>
        <a:ext cx="3455395" cy="1270972"/>
      </dsp:txXfrm>
    </dsp:sp>
    <dsp:sp modelId="{9BED78F0-64D0-4734-AA14-FE0932FFB602}">
      <dsp:nvSpPr>
        <dsp:cNvPr id="0" name=""/>
        <dsp:cNvSpPr/>
      </dsp:nvSpPr>
      <dsp:spPr>
        <a:xfrm>
          <a:off x="0" y="1589259"/>
          <a:ext cx="4923369" cy="127097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E395A4-A2CA-4098-938E-C6E31F0F073E}">
      <dsp:nvSpPr>
        <dsp:cNvPr id="0" name=""/>
        <dsp:cNvSpPr/>
      </dsp:nvSpPr>
      <dsp:spPr>
        <a:xfrm>
          <a:off x="384469" y="1875227"/>
          <a:ext cx="699035" cy="69903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6089FE-58A3-4624-A97B-639E48907873}">
      <dsp:nvSpPr>
        <dsp:cNvPr id="0" name=""/>
        <dsp:cNvSpPr/>
      </dsp:nvSpPr>
      <dsp:spPr>
        <a:xfrm>
          <a:off x="1467973" y="1589259"/>
          <a:ext cx="3455395" cy="12709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511" tIns="134511" rIns="134511" bIns="13451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Producto</a:t>
          </a:r>
          <a:r>
            <a:rPr lang="en-US" sz="2500" kern="1200" dirty="0"/>
            <a:t> al </a:t>
          </a:r>
          <a:r>
            <a:rPr lang="en-US" sz="2500" kern="1200" dirty="0" err="1"/>
            <a:t>alcance</a:t>
          </a:r>
          <a:r>
            <a:rPr lang="en-US" sz="2500" kern="1200" dirty="0"/>
            <a:t> de </a:t>
          </a:r>
          <a:r>
            <a:rPr lang="en-US" sz="2500" kern="1200" dirty="0" err="1"/>
            <a:t>todos</a:t>
          </a:r>
          <a:endParaRPr lang="en-US" sz="2500" kern="1200" dirty="0"/>
        </a:p>
      </dsp:txBody>
      <dsp:txXfrm>
        <a:off x="1467973" y="1589259"/>
        <a:ext cx="3455395" cy="1270972"/>
      </dsp:txXfrm>
    </dsp:sp>
    <dsp:sp modelId="{3D2FD11B-6E11-4029-9653-42402DDFA7B6}">
      <dsp:nvSpPr>
        <dsp:cNvPr id="0" name=""/>
        <dsp:cNvSpPr/>
      </dsp:nvSpPr>
      <dsp:spPr>
        <a:xfrm>
          <a:off x="0" y="3177975"/>
          <a:ext cx="4923369" cy="127097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46E5EB-FF9E-418A-B242-DDBFCF221B07}">
      <dsp:nvSpPr>
        <dsp:cNvPr id="0" name=""/>
        <dsp:cNvSpPr/>
      </dsp:nvSpPr>
      <dsp:spPr>
        <a:xfrm>
          <a:off x="384469" y="3463943"/>
          <a:ext cx="699035" cy="69903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E0B786-79BB-41A1-BEEC-9CB92F31A71E}">
      <dsp:nvSpPr>
        <dsp:cNvPr id="0" name=""/>
        <dsp:cNvSpPr/>
      </dsp:nvSpPr>
      <dsp:spPr>
        <a:xfrm>
          <a:off x="1467973" y="3177975"/>
          <a:ext cx="3455395" cy="12709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511" tIns="134511" rIns="134511" bIns="134511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Pensamiento</a:t>
          </a:r>
          <a:r>
            <a:rPr lang="en-US" sz="2500" kern="1200" dirty="0"/>
            <a:t> actual</a:t>
          </a:r>
        </a:p>
      </dsp:txBody>
      <dsp:txXfrm>
        <a:off x="1467973" y="3177975"/>
        <a:ext cx="3455395" cy="12709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5174EF-0B9F-4B94-BBE2-B3BE7373F0AB}">
      <dsp:nvSpPr>
        <dsp:cNvPr id="0" name=""/>
        <dsp:cNvSpPr/>
      </dsp:nvSpPr>
      <dsp:spPr>
        <a:xfrm>
          <a:off x="0" y="417"/>
          <a:ext cx="55292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00D455-62B6-4A58-A537-D5A507C3D6B2}">
      <dsp:nvSpPr>
        <dsp:cNvPr id="0" name=""/>
        <dsp:cNvSpPr/>
      </dsp:nvSpPr>
      <dsp:spPr>
        <a:xfrm>
          <a:off x="0" y="417"/>
          <a:ext cx="5529263" cy="683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900" kern="1200"/>
            <a:t>Falta de experiencia</a:t>
          </a:r>
          <a:endParaRPr lang="en-US" sz="2900" kern="1200"/>
        </a:p>
      </dsp:txBody>
      <dsp:txXfrm>
        <a:off x="0" y="417"/>
        <a:ext cx="5529263" cy="683985"/>
      </dsp:txXfrm>
    </dsp:sp>
    <dsp:sp modelId="{9DCD0E00-C12B-49BB-BFCC-EAF3EB618338}">
      <dsp:nvSpPr>
        <dsp:cNvPr id="0" name=""/>
        <dsp:cNvSpPr/>
      </dsp:nvSpPr>
      <dsp:spPr>
        <a:xfrm>
          <a:off x="0" y="684402"/>
          <a:ext cx="55292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CCDA60-6E8A-4C28-ADC1-437E13A65DFE}">
      <dsp:nvSpPr>
        <dsp:cNvPr id="0" name=""/>
        <dsp:cNvSpPr/>
      </dsp:nvSpPr>
      <dsp:spPr>
        <a:xfrm>
          <a:off x="0" y="684402"/>
          <a:ext cx="5529263" cy="683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900" kern="1200"/>
            <a:t>Dificultades escogiendo un tema</a:t>
          </a:r>
          <a:endParaRPr lang="en-US" sz="2900" kern="1200"/>
        </a:p>
      </dsp:txBody>
      <dsp:txXfrm>
        <a:off x="0" y="684402"/>
        <a:ext cx="5529263" cy="683985"/>
      </dsp:txXfrm>
    </dsp:sp>
    <dsp:sp modelId="{0D871EDD-6DD0-4937-BDD7-F12EB745C77E}">
      <dsp:nvSpPr>
        <dsp:cNvPr id="0" name=""/>
        <dsp:cNvSpPr/>
      </dsp:nvSpPr>
      <dsp:spPr>
        <a:xfrm>
          <a:off x="0" y="1368388"/>
          <a:ext cx="55292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65A558-4F56-4278-B492-6C02325DBC61}">
      <dsp:nvSpPr>
        <dsp:cNvPr id="0" name=""/>
        <dsp:cNvSpPr/>
      </dsp:nvSpPr>
      <dsp:spPr>
        <a:xfrm>
          <a:off x="0" y="1368388"/>
          <a:ext cx="5529263" cy="683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900" kern="1200"/>
            <a:t>Muy perfeccionistas</a:t>
          </a:r>
          <a:endParaRPr lang="en-US" sz="2900" kern="1200"/>
        </a:p>
      </dsp:txBody>
      <dsp:txXfrm>
        <a:off x="0" y="1368388"/>
        <a:ext cx="5529263" cy="683985"/>
      </dsp:txXfrm>
    </dsp:sp>
    <dsp:sp modelId="{34342AA0-BAB1-4A0E-A09D-38DF12871210}">
      <dsp:nvSpPr>
        <dsp:cNvPr id="0" name=""/>
        <dsp:cNvSpPr/>
      </dsp:nvSpPr>
      <dsp:spPr>
        <a:xfrm>
          <a:off x="0" y="2052373"/>
          <a:ext cx="55292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17FCCD-FADD-42CC-87AC-095CA4BB2700}">
      <dsp:nvSpPr>
        <dsp:cNvPr id="0" name=""/>
        <dsp:cNvSpPr/>
      </dsp:nvSpPr>
      <dsp:spPr>
        <a:xfrm>
          <a:off x="0" y="2052373"/>
          <a:ext cx="5529263" cy="683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900" kern="1200"/>
            <a:t>Lenguaje Python</a:t>
          </a:r>
          <a:endParaRPr lang="en-US" sz="2900" kern="1200"/>
        </a:p>
      </dsp:txBody>
      <dsp:txXfrm>
        <a:off x="0" y="2052373"/>
        <a:ext cx="5529263" cy="683985"/>
      </dsp:txXfrm>
    </dsp:sp>
    <dsp:sp modelId="{265B59F3-BA26-4741-996D-6F0B65614285}">
      <dsp:nvSpPr>
        <dsp:cNvPr id="0" name=""/>
        <dsp:cNvSpPr/>
      </dsp:nvSpPr>
      <dsp:spPr>
        <a:xfrm>
          <a:off x="0" y="2736359"/>
          <a:ext cx="552926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62C787-0798-49A5-96FD-39D521488998}">
      <dsp:nvSpPr>
        <dsp:cNvPr id="0" name=""/>
        <dsp:cNvSpPr/>
      </dsp:nvSpPr>
      <dsp:spPr>
        <a:xfrm>
          <a:off x="0" y="2736359"/>
          <a:ext cx="5529263" cy="683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900" kern="1200"/>
            <a:t>Uso de OpenCV</a:t>
          </a:r>
          <a:endParaRPr lang="en-US" sz="2900" kern="1200"/>
        </a:p>
      </dsp:txBody>
      <dsp:txXfrm>
        <a:off x="0" y="2736359"/>
        <a:ext cx="5529263" cy="6839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p:transition spd="med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p:transition spd="med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transition spd="med">
    <p:fade/>
  </p:transition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  <p:transition spd="med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  <p:transition spd="med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p:transition spd="med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  <p:transition spd="med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transition spd="med">
    <p:fade/>
  </p:transition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transition spd="med">
    <p:fade/>
  </p:transition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transition spd="med">
    <p:fade/>
  </p:transition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  <p:transition spd="med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  <p:transition spd="med"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  <p:transition spd="med"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  <p:transition spd="med"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383797"/>
      </p:ext>
    </p:extLst>
  </p:cSld>
  <p:clrMapOvr>
    <a:masterClrMapping/>
  </p:clrMapOvr>
  <p:transition spd="med"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s://lh6.googleusercontent.com/I8MY7bd7bXVVXXCDE-Mfgyeso9jk7ZKNgtKxWzSQzbOtSh0pu9W5OlyqvrZK74q9AnuXOcamrQiIxG3ULpQqBsmrRiP3F6qu47dBRq-YX-DEv-HXzMaxNEb_vCwMAfoJczInBCg7srk">
            <a:extLst>
              <a:ext uri="{FF2B5EF4-FFF2-40B4-BE49-F238E27FC236}">
                <a16:creationId xmlns:a16="http://schemas.microsoft.com/office/drawing/2014/main" id="{C714D6D8-9D2E-40EF-9A26-F2EAA9A727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778" y="726831"/>
            <a:ext cx="2298427" cy="344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28">
            <a:extLst>
              <a:ext uri="{FF2B5EF4-FFF2-40B4-BE49-F238E27FC236}">
                <a16:creationId xmlns:a16="http://schemas.microsoft.com/office/drawing/2014/main" id="{5347AA4A-A490-41C5-9F81-C94AF14029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8099" y="476844"/>
            <a:ext cx="4032611" cy="8646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0" i="0" kern="1200" cap="all">
                <a:solidFill>
                  <a:schemeClr val="bg1"/>
                </a:solidFill>
                <a:latin typeface="adineue TEXT Black" panose="020B0A030202010600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defTabSz="914400"/>
            <a:r>
              <a:rPr lang="en-US" dirty="0" err="1">
                <a:solidFill>
                  <a:schemeClr val="accent4">
                    <a:lumMod val="75000"/>
                  </a:schemeClr>
                </a:solidFill>
              </a:rPr>
              <a:t>Enfoque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accent4">
                    <a:lumMod val="75000"/>
                  </a:schemeClr>
                </a:solidFill>
              </a:rPr>
              <a:t>Futuro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FDC2D9C-E33D-4193-87E5-5AAD1F1B6D6E}"/>
              </a:ext>
            </a:extLst>
          </p:cNvPr>
          <p:cNvSpPr txBox="1"/>
          <p:nvPr userDrawn="1"/>
        </p:nvSpPr>
        <p:spPr bwMode="gray">
          <a:xfrm>
            <a:off x="844062" y="1676400"/>
            <a:ext cx="3446584" cy="18756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Crear una sociedad sin lesi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Soporte para deportis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Mejorar la lectura de los patr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Sens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4726180"/>
      </p:ext>
    </p:extLst>
  </p:cSld>
  <p:clrMapOvr>
    <a:masterClrMapping/>
  </p:clrMapOvr>
  <p:transition spd="med"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6401"/>
            <a:ext cx="9215438" cy="5191176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9131" y="1817872"/>
            <a:ext cx="5870712" cy="1244635"/>
          </a:xfrm>
        </p:spPr>
        <p:txBody>
          <a:bodyPr anchor="b">
            <a:noAutofit/>
          </a:bodyPr>
          <a:lstStyle>
            <a:lvl1pPr algn="r">
              <a:defRPr sz="4082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9131" y="3062505"/>
            <a:ext cx="5870712" cy="829276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5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1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418666"/>
      </p:ext>
    </p:extLst>
  </p:cSld>
  <p:clrMapOvr>
    <a:masterClrMapping/>
  </p:clrMapOvr>
  <p:transition spd="med"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843927"/>
      </p:ext>
    </p:extLst>
  </p:cSld>
  <p:clrMapOvr>
    <a:masterClrMapping/>
  </p:clrMapOvr>
  <p:transition spd="med"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970" y="2041906"/>
            <a:ext cx="6497872" cy="1380929"/>
          </a:xfrm>
        </p:spPr>
        <p:txBody>
          <a:bodyPr anchor="b"/>
          <a:lstStyle>
            <a:lvl1pPr algn="l">
              <a:defRPr sz="3024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3422835"/>
            <a:ext cx="6497872" cy="650478"/>
          </a:xfrm>
        </p:spPr>
        <p:txBody>
          <a:bodyPr anchor="t"/>
          <a:lstStyle>
            <a:lvl1pPr marL="0" indent="0" algn="l">
              <a:buNone/>
              <a:defRPr sz="151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5597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943282"/>
      </p:ext>
    </p:extLst>
  </p:cSld>
  <p:clrMapOvr>
    <a:masterClrMapping/>
  </p:clrMapOvr>
  <p:transition spd="med"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1970" y="1633446"/>
            <a:ext cx="3162542" cy="293393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47302" y="1633446"/>
            <a:ext cx="3162541" cy="293393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692336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768" y="1633743"/>
            <a:ext cx="3163743" cy="435665"/>
          </a:xfrm>
        </p:spPr>
        <p:txBody>
          <a:bodyPr anchor="b">
            <a:noAutofit/>
          </a:bodyPr>
          <a:lstStyle>
            <a:lvl1pPr marL="0" indent="0">
              <a:buNone/>
              <a:defRPr sz="1814" b="0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768" y="2069408"/>
            <a:ext cx="3163743" cy="2497974"/>
          </a:xfrm>
        </p:spPr>
        <p:txBody>
          <a:bodyPr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46102" y="1633743"/>
            <a:ext cx="3163739" cy="435665"/>
          </a:xfrm>
        </p:spPr>
        <p:txBody>
          <a:bodyPr anchor="b">
            <a:noAutofit/>
          </a:bodyPr>
          <a:lstStyle>
            <a:lvl1pPr marL="0" indent="0">
              <a:buNone/>
              <a:defRPr sz="1814" b="0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46103" y="2069408"/>
            <a:ext cx="3163738" cy="2497974"/>
          </a:xfrm>
        </p:spPr>
        <p:txBody>
          <a:bodyPr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933807"/>
      </p:ext>
    </p:extLst>
  </p:cSld>
  <p:clrMapOvr>
    <a:masterClrMapping/>
  </p:clrMapOvr>
  <p:transition spd="med"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970" y="460869"/>
            <a:ext cx="6497872" cy="9985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975737"/>
      </p:ext>
    </p:extLst>
  </p:cSld>
  <p:clrMapOvr>
    <a:masterClrMapping/>
  </p:clrMapOvr>
  <p:transition spd="med"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289975"/>
      </p:ext>
    </p:extLst>
  </p:cSld>
  <p:clrMapOvr>
    <a:masterClrMapping/>
  </p:clrMapOvr>
  <p:transition spd="med"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969" y="1132972"/>
            <a:ext cx="2913481" cy="966544"/>
          </a:xfrm>
        </p:spPr>
        <p:txBody>
          <a:bodyPr anchor="b">
            <a:normAutofit/>
          </a:bodyPr>
          <a:lstStyle>
            <a:lvl1pPr>
              <a:defRPr sz="1512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8240" y="389292"/>
            <a:ext cx="3411602" cy="4178089"/>
          </a:xfrm>
        </p:spPr>
        <p:txBody>
          <a:bodyPr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1969" y="2099516"/>
            <a:ext cx="2913481" cy="1953891"/>
          </a:xfrm>
        </p:spPr>
        <p:txBody>
          <a:bodyPr>
            <a:normAutofit/>
          </a:bodyPr>
          <a:lstStyle>
            <a:lvl1pPr marL="0" indent="0">
              <a:buNone/>
              <a:defRPr sz="1058"/>
            </a:lvl1pPr>
            <a:lvl2pPr marL="345494" indent="0">
              <a:buNone/>
              <a:defRPr sz="1058"/>
            </a:lvl2pPr>
            <a:lvl3pPr marL="690988" indent="0">
              <a:buNone/>
              <a:defRPr sz="907"/>
            </a:lvl3pPr>
            <a:lvl4pPr marL="1036482" indent="0">
              <a:buNone/>
              <a:defRPr sz="756"/>
            </a:lvl4pPr>
            <a:lvl5pPr marL="1381975" indent="0">
              <a:buNone/>
              <a:defRPr sz="756"/>
            </a:lvl5pPr>
            <a:lvl6pPr marL="1727469" indent="0">
              <a:buNone/>
              <a:defRPr sz="756"/>
            </a:lvl6pPr>
            <a:lvl7pPr marL="2072963" indent="0">
              <a:buNone/>
              <a:defRPr sz="756"/>
            </a:lvl7pPr>
            <a:lvl8pPr marL="2418457" indent="0">
              <a:buNone/>
              <a:defRPr sz="756"/>
            </a:lvl8pPr>
            <a:lvl9pPr marL="2763951" indent="0">
              <a:buNone/>
              <a:defRPr sz="756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338037"/>
      </p:ext>
    </p:extLst>
  </p:cSld>
  <p:clrMapOvr>
    <a:masterClrMapping/>
  </p:clrMapOvr>
  <p:transition spd="med"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970" y="3629343"/>
            <a:ext cx="6497872" cy="428464"/>
          </a:xfrm>
        </p:spPr>
        <p:txBody>
          <a:bodyPr anchor="b">
            <a:normAutofit/>
          </a:bodyPr>
          <a:lstStyle>
            <a:lvl1pPr algn="l">
              <a:defRPr sz="1814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1970" y="460869"/>
            <a:ext cx="6497872" cy="2907434"/>
          </a:xfrm>
        </p:spPr>
        <p:txBody>
          <a:bodyPr anchor="t">
            <a:normAutofit/>
          </a:bodyPr>
          <a:lstStyle>
            <a:lvl1pPr marL="0" indent="0" algn="ctr">
              <a:buNone/>
              <a:defRPr sz="1209"/>
            </a:lvl1pPr>
            <a:lvl2pPr marL="345597" indent="0">
              <a:buNone/>
              <a:defRPr sz="1209"/>
            </a:lvl2pPr>
            <a:lvl3pPr marL="691195" indent="0">
              <a:buNone/>
              <a:defRPr sz="1209"/>
            </a:lvl3pPr>
            <a:lvl4pPr marL="1036792" indent="0">
              <a:buNone/>
              <a:defRPr sz="1209"/>
            </a:lvl4pPr>
            <a:lvl5pPr marL="1382390" indent="0">
              <a:buNone/>
              <a:defRPr sz="1209"/>
            </a:lvl5pPr>
            <a:lvl6pPr marL="1727987" indent="0">
              <a:buNone/>
              <a:defRPr sz="1209"/>
            </a:lvl6pPr>
            <a:lvl7pPr marL="2073585" indent="0">
              <a:buNone/>
              <a:defRPr sz="1209"/>
            </a:lvl7pPr>
            <a:lvl8pPr marL="2419182" indent="0">
              <a:buNone/>
              <a:defRPr sz="1209"/>
            </a:lvl8pPr>
            <a:lvl9pPr marL="2764780" indent="0">
              <a:buNone/>
              <a:defRPr sz="1209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1970" y="4057807"/>
            <a:ext cx="6497872" cy="509575"/>
          </a:xfrm>
        </p:spPr>
        <p:txBody>
          <a:bodyPr>
            <a:normAutofit/>
          </a:bodyPr>
          <a:lstStyle>
            <a:lvl1pPr marL="0" indent="0">
              <a:buNone/>
              <a:defRPr sz="907"/>
            </a:lvl1pPr>
            <a:lvl2pPr marL="345597" indent="0">
              <a:buNone/>
              <a:defRPr sz="907"/>
            </a:lvl2pPr>
            <a:lvl3pPr marL="691195" indent="0">
              <a:buNone/>
              <a:defRPr sz="756"/>
            </a:lvl3pPr>
            <a:lvl4pPr marL="1036792" indent="0">
              <a:buNone/>
              <a:defRPr sz="680"/>
            </a:lvl4pPr>
            <a:lvl5pPr marL="1382390" indent="0">
              <a:buNone/>
              <a:defRPr sz="680"/>
            </a:lvl5pPr>
            <a:lvl6pPr marL="1727987" indent="0">
              <a:buNone/>
              <a:defRPr sz="680"/>
            </a:lvl6pPr>
            <a:lvl7pPr marL="2073585" indent="0">
              <a:buNone/>
              <a:defRPr sz="680"/>
            </a:lvl7pPr>
            <a:lvl8pPr marL="2419182" indent="0">
              <a:buNone/>
              <a:defRPr sz="680"/>
            </a:lvl8pPr>
            <a:lvl9pPr marL="2764780" indent="0">
              <a:buNone/>
              <a:defRPr sz="68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955755"/>
      </p:ext>
    </p:extLst>
  </p:cSld>
  <p:clrMapOvr>
    <a:masterClrMapping/>
  </p:clrMapOvr>
  <p:transition spd="med"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970" y="460869"/>
            <a:ext cx="6497872" cy="2573185"/>
          </a:xfrm>
        </p:spPr>
        <p:txBody>
          <a:bodyPr anchor="ctr">
            <a:normAutofit/>
          </a:bodyPr>
          <a:lstStyle>
            <a:lvl1pPr algn="l">
              <a:defRPr sz="3326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3379705"/>
            <a:ext cx="6497872" cy="1187676"/>
          </a:xfrm>
        </p:spPr>
        <p:txBody>
          <a:bodyPr anchor="ctr">
            <a:normAutofit/>
          </a:bodyPr>
          <a:lstStyle>
            <a:lvl1pPr marL="0" indent="0" algn="l">
              <a:buNone/>
              <a:defRPr sz="136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5597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475786"/>
      </p:ext>
    </p:extLst>
  </p:cSld>
  <p:clrMapOvr>
    <a:masterClrMapping/>
  </p:clrMapOvr>
  <p:transition spd="med"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3958" y="460869"/>
            <a:ext cx="6118027" cy="2285142"/>
          </a:xfrm>
        </p:spPr>
        <p:txBody>
          <a:bodyPr anchor="ctr">
            <a:normAutofit/>
          </a:bodyPr>
          <a:lstStyle>
            <a:lvl1pPr algn="l">
              <a:defRPr sz="3326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32609" y="2746010"/>
            <a:ext cx="5460724" cy="288043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20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5597" indent="0">
              <a:buFontTx/>
              <a:buNone/>
              <a:defRPr/>
            </a:lvl2pPr>
            <a:lvl3pPr marL="691195" indent="0">
              <a:buFontTx/>
              <a:buNone/>
              <a:defRPr/>
            </a:lvl3pPr>
            <a:lvl4pPr marL="1036792" indent="0">
              <a:buFontTx/>
              <a:buNone/>
              <a:defRPr/>
            </a:lvl4pPr>
            <a:lvl5pPr marL="1382390" indent="0">
              <a:buFontTx/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3379705"/>
            <a:ext cx="6497872" cy="1187676"/>
          </a:xfrm>
        </p:spPr>
        <p:txBody>
          <a:bodyPr anchor="ctr">
            <a:normAutofit/>
          </a:bodyPr>
          <a:lstStyle>
            <a:lvl1pPr marL="0" indent="0" algn="l">
              <a:buNone/>
              <a:defRPr sz="136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5597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09577" y="597541"/>
            <a:ext cx="460772" cy="442101"/>
          </a:xfrm>
          <a:prstGeom prst="rect">
            <a:avLst/>
          </a:prstGeom>
        </p:spPr>
        <p:txBody>
          <a:bodyPr vert="horz" lIns="69116" tIns="34558" rIns="69116" bIns="34558" rtlCol="0" anchor="ctr">
            <a:noAutofit/>
          </a:bodyPr>
          <a:lstStyle/>
          <a:p>
            <a:pPr lvl="0"/>
            <a:r>
              <a:rPr lang="en-US" sz="6047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21866" y="2182290"/>
            <a:ext cx="460772" cy="442101"/>
          </a:xfrm>
          <a:prstGeom prst="rect">
            <a:avLst/>
          </a:prstGeom>
        </p:spPr>
        <p:txBody>
          <a:bodyPr vert="horz" lIns="69116" tIns="34558" rIns="69116" bIns="34558" rtlCol="0" anchor="ctr">
            <a:noAutofit/>
          </a:bodyPr>
          <a:lstStyle/>
          <a:p>
            <a:pPr lvl="0"/>
            <a:r>
              <a:rPr lang="en-US" sz="6047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51785044"/>
      </p:ext>
    </p:extLst>
  </p:cSld>
  <p:clrMapOvr>
    <a:masterClrMapping/>
  </p:clrMapOvr>
  <p:transition spd="med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970" y="1460619"/>
            <a:ext cx="6497872" cy="1962216"/>
          </a:xfrm>
        </p:spPr>
        <p:txBody>
          <a:bodyPr anchor="b">
            <a:normAutofit/>
          </a:bodyPr>
          <a:lstStyle>
            <a:lvl1pPr algn="l">
              <a:defRPr sz="3326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3422835"/>
            <a:ext cx="6497872" cy="1144547"/>
          </a:xfrm>
        </p:spPr>
        <p:txBody>
          <a:bodyPr anchor="t">
            <a:normAutofit/>
          </a:bodyPr>
          <a:lstStyle>
            <a:lvl1pPr marL="0" indent="0" algn="l">
              <a:buNone/>
              <a:defRPr sz="136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5597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752115"/>
      </p:ext>
    </p:extLst>
  </p:cSld>
  <p:clrMapOvr>
    <a:masterClrMapping/>
  </p:clrMapOvr>
  <p:transition spd="med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la 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3958" y="460869"/>
            <a:ext cx="6118027" cy="2285142"/>
          </a:xfrm>
        </p:spPr>
        <p:txBody>
          <a:bodyPr anchor="ctr">
            <a:normAutofit/>
          </a:bodyPr>
          <a:lstStyle>
            <a:lvl1pPr algn="l">
              <a:defRPr sz="3326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11968" y="3034054"/>
            <a:ext cx="6497873" cy="38878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14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5597" indent="0">
              <a:buFontTx/>
              <a:buNone/>
              <a:defRPr/>
            </a:lvl2pPr>
            <a:lvl3pPr marL="691195" indent="0">
              <a:buFontTx/>
              <a:buNone/>
              <a:defRPr/>
            </a:lvl3pPr>
            <a:lvl4pPr marL="1036792" indent="0">
              <a:buFontTx/>
              <a:buNone/>
              <a:defRPr/>
            </a:lvl4pPr>
            <a:lvl5pPr marL="1382390" indent="0">
              <a:buFontTx/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3422835"/>
            <a:ext cx="6497872" cy="1144547"/>
          </a:xfrm>
        </p:spPr>
        <p:txBody>
          <a:bodyPr anchor="t">
            <a:normAutofit/>
          </a:bodyPr>
          <a:lstStyle>
            <a:lvl1pPr marL="0" indent="0" algn="l">
              <a:buNone/>
              <a:defRPr sz="136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5597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09577" y="597541"/>
            <a:ext cx="460772" cy="442101"/>
          </a:xfrm>
          <a:prstGeom prst="rect">
            <a:avLst/>
          </a:prstGeom>
        </p:spPr>
        <p:txBody>
          <a:bodyPr vert="horz" lIns="69116" tIns="34558" rIns="69116" bIns="34558" rtlCol="0" anchor="ctr">
            <a:noAutofit/>
          </a:bodyPr>
          <a:lstStyle/>
          <a:p>
            <a:pPr lvl="0"/>
            <a:r>
              <a:rPr lang="en-US" sz="6047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21866" y="2182290"/>
            <a:ext cx="460772" cy="442101"/>
          </a:xfrm>
          <a:prstGeom prst="rect">
            <a:avLst/>
          </a:prstGeom>
        </p:spPr>
        <p:txBody>
          <a:bodyPr vert="horz" lIns="69116" tIns="34558" rIns="69116" bIns="34558" rtlCol="0" anchor="ctr">
            <a:noAutofit/>
          </a:bodyPr>
          <a:lstStyle/>
          <a:p>
            <a:pPr lvl="0"/>
            <a:r>
              <a:rPr lang="en-US" sz="6047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34669973"/>
      </p:ext>
    </p:extLst>
  </p:cSld>
  <p:clrMapOvr>
    <a:masterClrMapping/>
  </p:clrMapOvr>
  <p:transition spd="med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ro o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368" y="460869"/>
            <a:ext cx="6491474" cy="2285142"/>
          </a:xfrm>
        </p:spPr>
        <p:txBody>
          <a:bodyPr anchor="ctr">
            <a:normAutofit/>
          </a:bodyPr>
          <a:lstStyle>
            <a:lvl1pPr algn="l">
              <a:defRPr sz="3326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11968" y="3034054"/>
            <a:ext cx="6497873" cy="38878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14">
                <a:solidFill>
                  <a:schemeClr val="accent1"/>
                </a:solidFill>
              </a:defRPr>
            </a:lvl1pPr>
            <a:lvl2pPr marL="345597" indent="0">
              <a:buFontTx/>
              <a:buNone/>
              <a:defRPr/>
            </a:lvl2pPr>
            <a:lvl3pPr marL="691195" indent="0">
              <a:buFontTx/>
              <a:buNone/>
              <a:defRPr/>
            </a:lvl3pPr>
            <a:lvl4pPr marL="1036792" indent="0">
              <a:buFontTx/>
              <a:buNone/>
              <a:defRPr/>
            </a:lvl4pPr>
            <a:lvl5pPr marL="1382390" indent="0">
              <a:buFontTx/>
              <a:buNone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3422835"/>
            <a:ext cx="6497872" cy="1144547"/>
          </a:xfrm>
        </p:spPr>
        <p:txBody>
          <a:bodyPr anchor="t">
            <a:normAutofit/>
          </a:bodyPr>
          <a:lstStyle>
            <a:lvl1pPr marL="0" indent="0" algn="l">
              <a:buNone/>
              <a:defRPr sz="136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5597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91589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158074"/>
      </p:ext>
    </p:extLst>
  </p:cSld>
  <p:clrMapOvr>
    <a:masterClrMapping/>
  </p:clrMapOvr>
  <p:transition spd="med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22441" y="460869"/>
            <a:ext cx="986202" cy="3970194"/>
          </a:xfrm>
        </p:spPr>
        <p:txBody>
          <a:bodyPr vert="eaVert" anchor="ctr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1970" y="460869"/>
            <a:ext cx="5336481" cy="3970193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751461"/>
      </p:ext>
    </p:extLst>
  </p:cSld>
  <p:clrMapOvr>
    <a:masterClrMapping/>
  </p:clrMapOvr>
  <p:transition spd="med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s://lh6.googleusercontent.com/I8MY7bd7bXVVXXCDE-Mfgyeso9jk7ZKNgtKxWzSQzbOtSh0pu9W5OlyqvrZK74q9AnuXOcamrQiIxG3ULpQqBsmrRiP3F6qu47dBRq-YX-DEv-HXzMaxNEb_vCwMAfoJczInBCg7srk">
            <a:extLst>
              <a:ext uri="{FF2B5EF4-FFF2-40B4-BE49-F238E27FC236}">
                <a16:creationId xmlns:a16="http://schemas.microsoft.com/office/drawing/2014/main" id="{C714D6D8-9D2E-40EF-9A26-F2EAA9A727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778" y="726831"/>
            <a:ext cx="2298427" cy="344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28">
            <a:extLst>
              <a:ext uri="{FF2B5EF4-FFF2-40B4-BE49-F238E27FC236}">
                <a16:creationId xmlns:a16="http://schemas.microsoft.com/office/drawing/2014/main" id="{5347AA4A-A490-41C5-9F81-C94AF14029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8099" y="476844"/>
            <a:ext cx="4032611" cy="8646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0" i="0" kern="1200" cap="all">
                <a:solidFill>
                  <a:schemeClr val="bg1"/>
                </a:solidFill>
                <a:latin typeface="adineue TEXT Black" panose="020B0A030202010600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defTabSz="914400"/>
            <a:r>
              <a:rPr lang="en-US" dirty="0" err="1">
                <a:solidFill>
                  <a:schemeClr val="accent4">
                    <a:lumMod val="75000"/>
                  </a:schemeClr>
                </a:solidFill>
              </a:rPr>
              <a:t>Enfoque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accent4">
                    <a:lumMod val="75000"/>
                  </a:schemeClr>
                </a:solidFill>
              </a:rPr>
              <a:t>Futuro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FDC2D9C-E33D-4193-87E5-5AAD1F1B6D6E}"/>
              </a:ext>
            </a:extLst>
          </p:cNvPr>
          <p:cNvSpPr txBox="1"/>
          <p:nvPr userDrawn="1"/>
        </p:nvSpPr>
        <p:spPr bwMode="gray">
          <a:xfrm>
            <a:off x="844062" y="1676400"/>
            <a:ext cx="3446584" cy="18756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Crear una sociedad sin lesi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Soporte para deportis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Mejorar la lectura de los patr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>
                <a:latin typeface="+mn-lt"/>
              </a:rPr>
              <a:t>Sens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712400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transition spd="med">
    <p:fade/>
  </p:transition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transition spd="med">
    <p:fade/>
  </p:transition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transition spd="med">
    <p:fade/>
  </p:transition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transition spd="med">
    <p:fade/>
  </p:transition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315.xml"/><Relationship Id="rId1" Type="http://schemas.openxmlformats.org/officeDocument/2006/relationships/slideLayout" Target="../slideLayouts/slideLayout31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17" Type="http://schemas.openxmlformats.org/officeDocument/2006/relationships/slideLayout" Target="../slideLayouts/slideLayout332.xml"/><Relationship Id="rId2" Type="http://schemas.openxmlformats.org/officeDocument/2006/relationships/slideLayout" Target="../slideLayouts/slideLayout317.xml"/><Relationship Id="rId16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5" Type="http://schemas.openxmlformats.org/officeDocument/2006/relationships/slideLayout" Target="../slideLayouts/slideLayout320.xml"/><Relationship Id="rId15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25.xml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slideLayout" Target="../slideLayouts/slideLayout3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16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8" r:id="rId1"/>
    <p:sldLayoutId id="2147485109" r:id="rId2"/>
  </p:sldLayoutIdLst>
  <p:transition spd="med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6401"/>
            <a:ext cx="9215438" cy="5191176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1970" y="460869"/>
            <a:ext cx="6497872" cy="9985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70" y="1633446"/>
            <a:ext cx="6497872" cy="29339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46068" y="4567382"/>
            <a:ext cx="689298" cy="276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1969" y="4567382"/>
            <a:ext cx="4760109" cy="276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93334" y="4567382"/>
            <a:ext cx="516508" cy="276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8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93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7" r:id="rId13"/>
    <p:sldLayoutId id="2147485178" r:id="rId14"/>
    <p:sldLayoutId id="2147485179" r:id="rId15"/>
    <p:sldLayoutId id="2147485180" r:id="rId16"/>
    <p:sldLayoutId id="2147485181" r:id="rId17"/>
  </p:sldLayoutIdLst>
  <p:transition spd="med">
    <p:fade/>
  </p:transition>
  <p:hf hdr="0"/>
  <p:txStyles>
    <p:titleStyle>
      <a:lvl1pPr algn="l" defTabSz="345597" rtl="0" eaLnBrk="1" latinLnBrk="0" hangingPunct="1">
        <a:spcBef>
          <a:spcPct val="0"/>
        </a:spcBef>
        <a:buNone/>
        <a:defRPr sz="2721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9198" indent="-259198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36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61596" indent="-215998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63994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05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09591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55189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00786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246384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591981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937579" indent="-172799" algn="l" defTabSz="345597" rtl="0" eaLnBrk="1" latinLnBrk="0" hangingPunct="1">
        <a:spcBef>
          <a:spcPts val="756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1pPr>
      <a:lvl2pPr marL="345597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2pPr>
      <a:lvl3pPr marL="691195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3pPr>
      <a:lvl4pPr marL="1036792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4pPr>
      <a:lvl5pPr marL="1382390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5pPr>
      <a:lvl6pPr marL="1727987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73585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419182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764780" algn="l" defTabSz="345597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5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3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3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rror_404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</a:t>
            </a:r>
            <a:r>
              <a:rPr lang="en-US" b="1" dirty="0" err="1"/>
              <a:t>Detectores</a:t>
            </a:r>
            <a:r>
              <a:rPr lang="en-US" b="1" dirty="0"/>
              <a:t> de </a:t>
            </a:r>
            <a:r>
              <a:rPr lang="en-US" b="1" dirty="0" err="1"/>
              <a:t>colores</a:t>
            </a:r>
            <a:r>
              <a:rPr lang="en-US" b="1" dirty="0"/>
              <a:t>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B8D412AD-9CF4-4510-97DC-34D6CC830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486370" y="523158"/>
            <a:ext cx="3042881" cy="4175144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AA13474-1DE4-475D-9482-DD0795CA3D42}"/>
              </a:ext>
            </a:extLst>
          </p:cNvPr>
          <p:cNvSpPr txBox="1"/>
          <p:nvPr/>
        </p:nvSpPr>
        <p:spPr bwMode="gray">
          <a:xfrm>
            <a:off x="810322" y="770763"/>
            <a:ext cx="2379331" cy="156139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pPr defTabSz="914400">
              <a:lnSpc>
                <a:spcPct val="90000"/>
              </a:lnSpc>
              <a:spcAft>
                <a:spcPts val="600"/>
              </a:spcAft>
            </a:pPr>
            <a:r>
              <a:rPr lang="en-US" sz="30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IEMBROS DEL GRUPO</a:t>
            </a:r>
            <a:endParaRPr lang="en-US" sz="30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C3B27DDF-4836-4DB6-AE4F-E8033A9DE971}"/>
              </a:ext>
            </a:extLst>
          </p:cNvPr>
          <p:cNvSpPr txBox="1"/>
          <p:nvPr/>
        </p:nvSpPr>
        <p:spPr bwMode="gray">
          <a:xfrm>
            <a:off x="810323" y="2455006"/>
            <a:ext cx="2379331" cy="1684869"/>
          </a:xfrm>
          <a:prstGeom prst="rect">
            <a:avLst/>
          </a:prstGeom>
        </p:spPr>
        <p:txBody>
          <a:bodyPr vert="horz" lIns="91440" tIns="45720" rIns="91440" bIns="45720" rtlCol="0" anchorCtr="0">
            <a:normAutofit/>
          </a:bodyPr>
          <a:lstStyle/>
          <a:p>
            <a:pPr marL="2857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FFFF"/>
                </a:solidFill>
                <a:latin typeface="+mn-lt"/>
                <a:cs typeface="+mn-cs"/>
              </a:rPr>
              <a:t>Adrián Rivera Sollai</a:t>
            </a:r>
          </a:p>
          <a:p>
            <a:pPr marL="2857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FFFF"/>
                </a:solidFill>
                <a:latin typeface="+mn-lt"/>
                <a:cs typeface="+mn-cs"/>
              </a:rPr>
              <a:t>Adrián Morente Ribera</a:t>
            </a:r>
          </a:p>
          <a:p>
            <a:pPr marL="2857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FFFF"/>
                </a:solidFill>
                <a:latin typeface="+mn-lt"/>
                <a:cs typeface="+mn-cs"/>
              </a:rPr>
              <a:t>Edgar Sanchez del Pozo</a:t>
            </a:r>
          </a:p>
          <a:p>
            <a:pPr marL="2857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FFFF"/>
                </a:solidFill>
                <a:latin typeface="+mn-lt"/>
                <a:cs typeface="+mn-cs"/>
              </a:rPr>
              <a:t>Petter Peñafiel Macías</a:t>
            </a:r>
          </a:p>
          <a:p>
            <a:pPr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rgbClr val="FFFFFF"/>
              </a:solidFill>
              <a:latin typeface="+mn-lt"/>
              <a:cs typeface="+mn-cs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64D561F3-B7A5-43AD-87CB-DA8FBE146F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1023" y="972945"/>
            <a:ext cx="4389988" cy="3292491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453A3B9F-515C-4001-BC64-C7A61902348F}"/>
              </a:ext>
            </a:extLst>
          </p:cNvPr>
          <p:cNvSpPr txBox="1"/>
          <p:nvPr/>
        </p:nvSpPr>
        <p:spPr bwMode="gray">
          <a:xfrm>
            <a:off x="586154" y="1329526"/>
            <a:ext cx="2754923" cy="130284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Indice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>
                <a:latin typeface="adineue PRO TT" panose="020B0503020201060004" pitchFamily="34" charset="77"/>
              </a:rPr>
              <a:t>IDEA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Enfoque de futur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¿Qué  nos hace diferentes?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https://lh5.googleusercontent.com/N0o69dst2mbKj8WNqa4SxLbeusKrwhPyGOt7zCFD_L7lr0ftkuQEZGh71uNCcJZa4RrbmAmGiHSdxys3dUieKjidSEJLkAeFOFEgMD6nsxWh6EDTPU7Ox9xf0qcpoKba4elqj8GudbY">
            <a:extLst>
              <a:ext uri="{FF2B5EF4-FFF2-40B4-BE49-F238E27FC236}">
                <a16:creationId xmlns:a16="http://schemas.microsoft.com/office/drawing/2014/main" id="{68BA052F-08B9-4D72-99AE-8A0A20910C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82" r="9089" b="2892"/>
          <a:stretch/>
        </p:blipFill>
        <p:spPr bwMode="auto">
          <a:xfrm>
            <a:off x="20" y="10"/>
            <a:ext cx="9215417" cy="5184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2B1D4F77-A17C-43D7-B7FA-545148E4E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254636" y="242815"/>
            <a:ext cx="3274615" cy="4458046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588" y="484050"/>
            <a:ext cx="2841457" cy="101682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000" dirty="0">
                <a:latin typeface="+mj-lt"/>
              </a:rPr>
              <a:t>Idea del </a:t>
            </a:r>
            <a:r>
              <a:rPr lang="en-US" sz="3000" dirty="0" err="1">
                <a:latin typeface="+mj-lt"/>
              </a:rPr>
              <a:t>proyecto</a:t>
            </a:r>
            <a:endParaRPr lang="en-US" sz="3000" dirty="0">
              <a:latin typeface="+mj-lt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8B55276-C97D-4DF2-AA7D-7A2B131CA317}"/>
              </a:ext>
            </a:extLst>
          </p:cNvPr>
          <p:cNvSpPr txBox="1"/>
          <p:nvPr/>
        </p:nvSpPr>
        <p:spPr bwMode="gray">
          <a:xfrm>
            <a:off x="449063" y="1604092"/>
            <a:ext cx="2845679" cy="2852465"/>
          </a:xfrm>
          <a:prstGeom prst="rect">
            <a:avLst/>
          </a:prstGeom>
        </p:spPr>
        <p:txBody>
          <a:bodyPr vert="horz" lIns="91440" tIns="45720" rIns="91440" bIns="45720" rtlCol="0" anchorCtr="0">
            <a:normAutofit/>
          </a:bodyPr>
          <a:lstStyle/>
          <a:p>
            <a:pPr marL="1714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cs typeface="+mn-cs"/>
              </a:rPr>
              <a:t>Prevenir posibles lesiones</a:t>
            </a:r>
          </a:p>
          <a:p>
            <a:pPr marL="1714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cs typeface="+mn-cs"/>
              </a:rPr>
              <a:t>Mejorar los ejercicios</a:t>
            </a:r>
          </a:p>
          <a:p>
            <a:pPr marL="17145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cs typeface="+mn-cs"/>
              </a:rPr>
              <a:t>Corregir postura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6508402" y="4805518"/>
            <a:ext cx="2073474" cy="276041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lnSpc>
                <a:spcPct val="90000"/>
              </a:lnSpc>
              <a:spcAft>
                <a:spcPts val="600"/>
              </a:spcAft>
              <a:defRPr/>
            </a:pPr>
            <a:fld id="{66C8B3C2-955F-42B1-8DED-EE47D723596C}" type="slidenum">
              <a:rPr lang="en-US" sz="700" b="0" cap="none" smtClean="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pPr algn="r" defTabSz="914400">
                <a:lnSpc>
                  <a:spcPct val="90000"/>
                </a:lnSpc>
                <a:spcAft>
                  <a:spcPts val="600"/>
                </a:spcAft>
                <a:defRPr/>
              </a:pPr>
              <a:t>4</a:t>
            </a:fld>
            <a:endParaRPr lang="en-US" sz="700" b="0" cap="none">
              <a:solidFill>
                <a:srgbClr val="FFFFFF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5908" y="356028"/>
            <a:ext cx="3311427" cy="4454539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328" y="765093"/>
            <a:ext cx="2582135" cy="362541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400" b="1" u="sng" dirty="0">
                <a:solidFill>
                  <a:srgbClr val="FFFFFF"/>
                </a:solidFill>
                <a:latin typeface="+mj-lt"/>
              </a:rPr>
              <a:t>¿</a:t>
            </a:r>
            <a:r>
              <a:rPr lang="en-US" sz="3400" b="1" u="sng" dirty="0" err="1">
                <a:solidFill>
                  <a:srgbClr val="FFFFFF"/>
                </a:solidFill>
                <a:latin typeface="+mj-lt"/>
              </a:rPr>
              <a:t>Qué</a:t>
            </a:r>
            <a:r>
              <a:rPr lang="en-US" sz="3400" b="1" u="sng" dirty="0">
                <a:solidFill>
                  <a:srgbClr val="FFFFFF"/>
                </a:solidFill>
                <a:latin typeface="+mj-lt"/>
              </a:rPr>
              <a:t>  </a:t>
            </a:r>
            <a:r>
              <a:rPr lang="en-US" sz="3400" b="1" u="sng" dirty="0" err="1">
                <a:solidFill>
                  <a:srgbClr val="FFFFFF"/>
                </a:solidFill>
                <a:latin typeface="+mj-lt"/>
              </a:rPr>
              <a:t>nos</a:t>
            </a:r>
            <a:r>
              <a:rPr lang="en-US" sz="3400" b="1" u="sng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3400" b="1" u="sng" dirty="0" err="1">
                <a:solidFill>
                  <a:srgbClr val="FFFFFF"/>
                </a:solidFill>
                <a:latin typeface="+mj-lt"/>
              </a:rPr>
              <a:t>hace</a:t>
            </a:r>
            <a:r>
              <a:rPr lang="en-US" sz="3400" b="1" u="sng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3400" b="1" u="sng" dirty="0" err="1">
                <a:solidFill>
                  <a:srgbClr val="FFFFFF"/>
                </a:solidFill>
                <a:latin typeface="+mj-lt"/>
              </a:rPr>
              <a:t>diferentes</a:t>
            </a:r>
            <a:r>
              <a:rPr lang="en-US" sz="3400" b="1" u="sng" dirty="0">
                <a:solidFill>
                  <a:srgbClr val="FFFFFF"/>
                </a:solidFill>
                <a:latin typeface="+mj-lt"/>
              </a:rPr>
              <a:t>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95151" y="4799576"/>
            <a:ext cx="3110210" cy="2760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 defTabSz="914400">
              <a:spcAft>
                <a:spcPts val="600"/>
              </a:spcAft>
              <a:defRPr/>
            </a:pPr>
            <a:r>
              <a:rPr lang="en-US" sz="9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rPr>
              <a:t>FOOTER / PRESENTATION 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5867201" y="4805518"/>
            <a:ext cx="2073474" cy="2760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Aft>
                <a:spcPts val="600"/>
              </a:spcAft>
              <a:defRPr/>
            </a:pPr>
            <a:fld id="{6219B26A-72D6-46AB-957C-CB3555B627B8}" type="datetime5">
              <a:rPr lang="en-US" sz="9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rPr>
              <a:pPr algn="r" defTabSz="914400">
                <a:spcAft>
                  <a:spcPts val="600"/>
                </a:spcAft>
                <a:defRPr/>
              </a:pPr>
              <a:t>24-Mar-19</a:t>
            </a:fld>
            <a:endParaRPr lang="en-US" sz="900">
              <a:solidFill>
                <a:prstClr val="black">
                  <a:tint val="75000"/>
                </a:prst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107513" y="4805518"/>
            <a:ext cx="474363" cy="2760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Aft>
                <a:spcPts val="600"/>
              </a:spcAft>
              <a:defRPr/>
            </a:pPr>
            <a:fld id="{66C8B3C2-955F-42B1-8DED-EE47D723596C}" type="slidenum">
              <a:rPr lang="en-US" sz="9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rPr>
              <a:pPr algn="r" defTabSz="914400">
                <a:spcAft>
                  <a:spcPts val="600"/>
                </a:spcAft>
                <a:defRPr/>
              </a:pPr>
              <a:t>6</a:t>
            </a:fld>
            <a:endParaRPr lang="en-US" sz="900">
              <a:solidFill>
                <a:prstClr val="black">
                  <a:tint val="75000"/>
                </a:prstClr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8" name="Text Placeholder 5">
            <a:extLst>
              <a:ext uri="{FF2B5EF4-FFF2-40B4-BE49-F238E27FC236}">
                <a16:creationId xmlns:a16="http://schemas.microsoft.com/office/drawing/2014/main" id="{E41D03F5-0F85-4DBC-A44C-302BFB2A71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0811500"/>
              </p:ext>
            </p:extLst>
          </p:nvPr>
        </p:nvGraphicFramePr>
        <p:xfrm>
          <a:off x="3926160" y="356027"/>
          <a:ext cx="4923369" cy="44494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42A5316D-ED2F-4F89-B4B4-8D9240B1A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521965" cy="5184775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5130A9A-03D3-4895-96DE-F90DDF41B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61" y="1555432"/>
            <a:ext cx="2073473" cy="2073910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1700" b="1" u="sng">
                <a:solidFill>
                  <a:srgbClr val="FFFFFF"/>
                </a:solidFill>
                <a:latin typeface="+mj-lt"/>
              </a:rPr>
              <a:t>Dificultades del proyecto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D6A6606-CE6A-4A21-838E-F5AF741FE855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94246" y="4805518"/>
            <a:ext cx="1219691" cy="2760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Aft>
                <a:spcPts val="600"/>
              </a:spcAft>
              <a:defRPr/>
            </a:pPr>
            <a:fld id="{6219B26A-72D6-46AB-957C-CB3555B627B8}" type="datetime5">
              <a:rPr lang="en-US" sz="90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algn="r" defTabSz="914400">
                <a:spcAft>
                  <a:spcPts val="600"/>
                </a:spcAft>
                <a:defRPr/>
              </a:pPr>
              <a:t>24-Mar-19</a:t>
            </a:fld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C5172C5-4243-467C-8F6C-8E9E54BBFA3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052613" y="4805518"/>
            <a:ext cx="3110210" cy="2760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>
              <a:spcAft>
                <a:spcPts val="600"/>
              </a:spcAft>
              <a:defRPr/>
            </a:pPr>
            <a:r>
              <a:rPr lang="en-US" sz="900" kern="1200">
                <a:solidFill>
                  <a:schemeClr val="tx1">
                    <a:alpha val="80000"/>
                  </a:schemeClr>
                </a:solidFill>
                <a:latin typeface="+mn-lt"/>
                <a:ea typeface="+mn-ea"/>
                <a:cs typeface="+mn-cs"/>
              </a:rPr>
              <a:t>FOOTER / PRESENTATION NAME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0EFC316-BBAA-4657-A793-10132BC2C04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6508402" y="4805518"/>
            <a:ext cx="2073474" cy="2760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Aft>
                <a:spcPts val="600"/>
              </a:spcAft>
              <a:defRPr/>
            </a:pPr>
            <a:fld id="{66C8B3C2-955F-42B1-8DED-EE47D723596C}" type="slidenum">
              <a:rPr lang="en-US" sz="900">
                <a:solidFill>
                  <a:schemeClr val="tx1">
                    <a:alpha val="80000"/>
                  </a:schemeClr>
                </a:solidFill>
                <a:latin typeface="+mn-lt"/>
                <a:ea typeface="+mn-ea"/>
                <a:cs typeface="+mn-cs"/>
              </a:rPr>
              <a:pPr algn="r" defTabSz="914400">
                <a:spcAft>
                  <a:spcPts val="600"/>
                </a:spcAft>
                <a:defRPr/>
              </a:pPr>
              <a:t>7</a:t>
            </a:fld>
            <a:endParaRPr lang="en-US" sz="900">
              <a:solidFill>
                <a:schemeClr val="tx1">
                  <a:alpha val="80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8" name="Marcador de texto 5">
            <a:extLst>
              <a:ext uri="{FF2B5EF4-FFF2-40B4-BE49-F238E27FC236}">
                <a16:creationId xmlns:a16="http://schemas.microsoft.com/office/drawing/2014/main" id="{DE8E6BD0-736D-44F6-86CE-8524B1E18A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5453084"/>
              </p:ext>
            </p:extLst>
          </p:nvPr>
        </p:nvGraphicFramePr>
        <p:xfrm>
          <a:off x="3052613" y="882007"/>
          <a:ext cx="5529263" cy="3420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19887035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30" y="0"/>
            <a:ext cx="4740423" cy="5184775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15437" cy="518477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8000" y="3226560"/>
            <a:ext cx="3632657" cy="1059520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lnSpc>
                <a:spcPct val="90000"/>
              </a:lnSpc>
            </a:pPr>
            <a:r>
              <a:rPr lang="en-US" sz="3300">
                <a:solidFill>
                  <a:srgbClr val="000000"/>
                </a:solidFill>
                <a:latin typeface="+mj-lt"/>
              </a:rPr>
              <a:t>MAKE IT RE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8230" y="2592386"/>
            <a:ext cx="3632427" cy="6341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>
              <a:spcBef>
                <a:spcPts val="1000"/>
              </a:spcBef>
            </a:pPr>
            <a:r>
              <a:rPr lang="en-US" sz="1400" b="1">
                <a:solidFill>
                  <a:srgbClr val="000000"/>
                </a:solidFill>
                <a:cs typeface="+mn-cs"/>
              </a:rPr>
              <a:t>DEMO</a:t>
            </a:r>
          </a:p>
        </p:txBody>
      </p:sp>
      <p:sp>
        <p:nvSpPr>
          <p:cNvPr id="18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46530"/>
            <a:ext cx="4140662" cy="4745409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alphaModFix/>
            <a:extLst/>
          </a:blip>
          <a:srcRect l="12405" r="24389" b="-1"/>
          <a:stretch/>
        </p:blipFill>
        <p:spPr>
          <a:xfrm>
            <a:off x="20" y="582162"/>
            <a:ext cx="4005039" cy="4609776"/>
          </a:xfrm>
          <a:custGeom>
            <a:avLst/>
            <a:gdLst>
              <a:gd name="connsiteX0" fmla="*/ 2178155 w 5298683"/>
              <a:gd name="connsiteY0" fmla="*/ 0 h 6097438"/>
              <a:gd name="connsiteX1" fmla="*/ 5298683 w 5298683"/>
              <a:gd name="connsiteY1" fmla="*/ 3120527 h 6097438"/>
              <a:gd name="connsiteX2" fmla="*/ 3392805 w 5298683"/>
              <a:gd name="connsiteY2" fmla="*/ 5995828 h 6097438"/>
              <a:gd name="connsiteX3" fmla="*/ 3115184 w 5298683"/>
              <a:gd name="connsiteY3" fmla="*/ 6097438 h 6097438"/>
              <a:gd name="connsiteX4" fmla="*/ 1241127 w 5298683"/>
              <a:gd name="connsiteY4" fmla="*/ 6097438 h 6097438"/>
              <a:gd name="connsiteX5" fmla="*/ 963506 w 5298683"/>
              <a:gd name="connsiteY5" fmla="*/ 5995828 h 6097438"/>
              <a:gd name="connsiteX6" fmla="*/ 193210 w 5298683"/>
              <a:gd name="connsiteY6" fmla="*/ 5528477 h 6097438"/>
              <a:gd name="connsiteX7" fmla="*/ 0 w 5298683"/>
              <a:gd name="connsiteY7" fmla="*/ 5352876 h 6097438"/>
              <a:gd name="connsiteX8" fmla="*/ 0 w 5298683"/>
              <a:gd name="connsiteY8" fmla="*/ 888178 h 6097438"/>
              <a:gd name="connsiteX9" fmla="*/ 193210 w 5298683"/>
              <a:gd name="connsiteY9" fmla="*/ 712577 h 6097438"/>
              <a:gd name="connsiteX10" fmla="*/ 2178155 w 5298683"/>
              <a:gd name="connsiteY10" fmla="*/ 0 h 60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8683" h="6097438">
                <a:moveTo>
                  <a:pt x="2178155" y="0"/>
                </a:moveTo>
                <a:cubicBezTo>
                  <a:pt x="3901575" y="0"/>
                  <a:pt x="5298683" y="1397108"/>
                  <a:pt x="5298683" y="3120527"/>
                </a:cubicBezTo>
                <a:cubicBezTo>
                  <a:pt x="5298683" y="4413092"/>
                  <a:pt x="4512810" y="5522106"/>
                  <a:pt x="3392805" y="5995828"/>
                </a:cubicBezTo>
                <a:lnTo>
                  <a:pt x="3115184" y="6097438"/>
                </a:lnTo>
                <a:lnTo>
                  <a:pt x="1241127" y="6097438"/>
                </a:lnTo>
                <a:lnTo>
                  <a:pt x="963506" y="5995828"/>
                </a:lnTo>
                <a:cubicBezTo>
                  <a:pt x="683504" y="5877397"/>
                  <a:pt x="424387" y="5719261"/>
                  <a:pt x="193210" y="5528477"/>
                </a:cubicBezTo>
                <a:lnTo>
                  <a:pt x="0" y="5352876"/>
                </a:lnTo>
                <a:lnTo>
                  <a:pt x="0" y="888178"/>
                </a:lnTo>
                <a:lnTo>
                  <a:pt x="193210" y="712577"/>
                </a:lnTo>
                <a:cubicBezTo>
                  <a:pt x="732621" y="267415"/>
                  <a:pt x="1424159" y="0"/>
                  <a:pt x="2178155" y="0"/>
                </a:cubicBezTo>
                <a:close/>
              </a:path>
            </a:pathLst>
          </a:custGeom>
          <a:solidFill>
            <a:schemeClr val="tx1"/>
          </a:solidFill>
          <a:effectLst>
            <a:softEdge rad="0"/>
          </a:effectLst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spcAft>
                <a:spcPts val="600"/>
              </a:spcAft>
              <a:defRPr/>
            </a:pPr>
            <a:fld id="{1F0AED66-3F9A-415C-984B-2EE3E75857E2}" type="datetime5">
              <a:rPr lang="en-US" smtClean="0"/>
              <a:pPr>
                <a:spcAft>
                  <a:spcPts val="600"/>
                </a:spcAft>
                <a:defRPr/>
              </a:pPr>
              <a:t>23-Mar-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en-US"/>
              <a:t>FOOTER / PRESENTATION NA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spcAft>
                <a:spcPts val="600"/>
              </a:spcAft>
              <a:defRPr/>
            </a:pPr>
            <a:fld id="{66C8B3C2-955F-42B1-8DED-EE47D723596C}" type="slidenum">
              <a:rPr lang="en-US" smtClean="0"/>
              <a:pPr>
                <a:spcAft>
                  <a:spcPts val="600"/>
                </a:spcAft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10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Diseños de guion gráfic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Faceta">
  <a:themeElements>
    <a:clrScheme name="Faceta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a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</TotalTime>
  <Words>118</Words>
  <Application>Microsoft Office PowerPoint</Application>
  <PresentationFormat>Personalizado</PresentationFormat>
  <Paragraphs>45</Paragraphs>
  <Slides>10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6</vt:i4>
      </vt:variant>
      <vt:variant>
        <vt:lpstr>Tema</vt:lpstr>
      </vt:variant>
      <vt:variant>
        <vt:i4>9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36" baseType="lpstr">
      <vt:lpstr>AdihausDI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Trebuchet MS</vt:lpstr>
      <vt:lpstr>Wingdings</vt:lpstr>
      <vt:lpstr>Wingdings 3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Diseños de guion gráfico</vt:lpstr>
      <vt:lpstr>Faceta</vt:lpstr>
      <vt:lpstr>think-cell Slide</vt:lpstr>
      <vt:lpstr>Error_404</vt:lpstr>
      <vt:lpstr>Presentación de PowerPoint</vt:lpstr>
      <vt:lpstr>Indice</vt:lpstr>
      <vt:lpstr>Idea del proyecto</vt:lpstr>
      <vt:lpstr>Presentación de PowerPoint</vt:lpstr>
      <vt:lpstr>¿Qué  nos hace diferentes?</vt:lpstr>
      <vt:lpstr>Dificultades del proyecto</vt:lpstr>
      <vt:lpstr>MAKE IT REAL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ror_404</dc:title>
  <dc:creator>Petter Axcell</dc:creator>
  <cp:lastModifiedBy>Petter Axcell</cp:lastModifiedBy>
  <cp:revision>2</cp:revision>
  <dcterms:created xsi:type="dcterms:W3CDTF">2019-03-24T04:39:50Z</dcterms:created>
  <dcterms:modified xsi:type="dcterms:W3CDTF">2019-03-24T05:44:19Z</dcterms:modified>
</cp:coreProperties>
</file>